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8"/>
  </p:notesMasterIdLst>
  <p:sldIdLst>
    <p:sldId id="397" r:id="rId2"/>
    <p:sldId id="399" r:id="rId3"/>
    <p:sldId id="392" r:id="rId4"/>
    <p:sldId id="395" r:id="rId5"/>
    <p:sldId id="396" r:id="rId6"/>
    <p:sldId id="391" r:id="rId7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6B8"/>
    <a:srgbClr val="002C46"/>
    <a:srgbClr val="FDDA95"/>
    <a:srgbClr val="FFFFFF"/>
    <a:srgbClr val="FBC14E"/>
    <a:srgbClr val="EBEEF2"/>
    <a:srgbClr val="AABFD6"/>
    <a:srgbClr val="8497B0"/>
    <a:srgbClr val="657E9D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B6B7ACB-CD95-4328-B773-9683C4DC7669}" v="394" dt="2024-02-22T04:09:09.46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00" autoAdjust="0"/>
    <p:restoredTop sz="92808" autoAdjust="0"/>
  </p:normalViewPr>
  <p:slideViewPr>
    <p:cSldViewPr snapToGrid="0">
      <p:cViewPr>
        <p:scale>
          <a:sx n="118" d="100"/>
          <a:sy n="118" d="100"/>
        </p:scale>
        <p:origin x="1338" y="-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notesMaster" Target="notesMasters/notesMaster1.xml" Id="rId8" /><Relationship Type="http://schemas.openxmlformats.org/officeDocument/2006/relationships/slide" Target="slides/slide2.xml" Id="rId3" /><Relationship Type="http://schemas.openxmlformats.org/officeDocument/2006/relationships/slide" Target="slides/slide6.xml" Id="rId7" /><Relationship Type="http://schemas.openxmlformats.org/officeDocument/2006/relationships/tableStyles" Target="tableStyles.xml" Id="rId12" /><Relationship Type="http://schemas.openxmlformats.org/officeDocument/2006/relationships/slide" Target="slides/slide1.xml" Id="rId2" /><Relationship Type="http://schemas.openxmlformats.org/officeDocument/2006/relationships/slideMaster" Target="slideMasters/slideMaster1.xml" Id="rId1" /><Relationship Type="http://schemas.openxmlformats.org/officeDocument/2006/relationships/slide" Target="slides/slide5.xml" Id="rId6" /><Relationship Type="http://schemas.openxmlformats.org/officeDocument/2006/relationships/theme" Target="theme/theme1.xml" Id="rId11" /><Relationship Type="http://schemas.openxmlformats.org/officeDocument/2006/relationships/slide" Target="slides/slide4.xml" Id="rId5" /><Relationship Type="http://schemas.openxmlformats.org/officeDocument/2006/relationships/viewProps" Target="viewProps.xml" Id="rId10" /><Relationship Type="http://schemas.openxmlformats.org/officeDocument/2006/relationships/slide" Target="slides/slide3.xml" Id="rId4" /><Relationship Type="http://schemas.openxmlformats.org/officeDocument/2006/relationships/presProps" Target="presProps.xml" Id="rId9" /><Relationship Type="http://schemas.microsoft.com/office/2015/10/relationships/revisionInfo" Target="revisionInfo.xml" Id="rId14" 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a2f7a990ae12e69/Unit%206/Southern%20Water%20Corp%20Financial%20Case%20Study%20Gabriela%20Fernandez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a2f7a990ae12e69/Unit%206/Southern%20Water%20Corp%20Financial%20Case%20Study%20Gabriela%20Fernandez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a2f7a990ae12e69/Unit%206/Southern%20Water%20Corp%20Financial%20Case%20Study%20Gabriela%20Fernandez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a2f7a990ae12e69/Unit%206/Southern%20Water%20Corp%20Financial%20Case%20Study%20Gabriela%20Fernandez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a2f7a990ae12e69/Unit%206/Southern%20Water%20Corp%20Financial%20Case%20Study%20Gabriela%20Fernandez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a2f7a990ae12e69/Unit%206/Southern%20Water%20Corp%20Financial%20Case%20Study%20Gabriela%20Fernandez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9a2f7a990ae12e69/Unit%206/Southern%20Water%20Corp%20Financial%20Case%20Study%20Gabriela%20Fernandez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ustomer Segment % Contribution per Un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2435878067318517E-2"/>
          <c:y val="0.10424043551913693"/>
          <c:w val="0.83585206837955173"/>
          <c:h val="0.8319460640867285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[Southern Water Corp Financial Case Study Gabriela Fernandez.xlsx]Revenue Analysis'!$A$62</c:f>
              <c:strCache>
                <c:ptCount val="1"/>
                <c:pt idx="0">
                  <c:v>Kooth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 Water Corp Financial Case Study Gabriela Fernandez.xlsx]Revenue Analysis'!$B$61:$D$61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[Southern Water Corp Financial Case Study Gabriela Fernandez.xlsx]Revenue Analysis'!$B$62:$D$62</c:f>
              <c:numCache>
                <c:formatCode>0.0%</c:formatCode>
                <c:ptCount val="3"/>
                <c:pt idx="0">
                  <c:v>0.52320475368890484</c:v>
                </c:pt>
                <c:pt idx="1">
                  <c:v>0.25754754000336344</c:v>
                </c:pt>
                <c:pt idx="2">
                  <c:v>0.21924770630773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AD-4B05-BC09-82C2A510CC27}"/>
            </c:ext>
          </c:extLst>
        </c:ser>
        <c:ser>
          <c:idx val="1"/>
          <c:order val="1"/>
          <c:tx>
            <c:strRef>
              <c:f>'[Southern Water Corp Financial Case Study Gabriela Fernandez.xlsx]Revenue Analysis'!$A$63</c:f>
              <c:strCache>
                <c:ptCount val="1"/>
                <c:pt idx="0">
                  <c:v>Surjek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 Water Corp Financial Case Study Gabriela Fernandez.xlsx]Revenue Analysis'!$B$61:$D$61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[Southern Water Corp Financial Case Study Gabriela Fernandez.xlsx]Revenue Analysis'!$B$63:$D$63</c:f>
              <c:numCache>
                <c:formatCode>0.0%</c:formatCode>
                <c:ptCount val="3"/>
                <c:pt idx="0">
                  <c:v>0.40764341953130873</c:v>
                </c:pt>
                <c:pt idx="1">
                  <c:v>0.34887778413286685</c:v>
                </c:pt>
                <c:pt idx="2">
                  <c:v>0.243478796335824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AD-4B05-BC09-82C2A510CC27}"/>
            </c:ext>
          </c:extLst>
        </c:ser>
        <c:ser>
          <c:idx val="2"/>
          <c:order val="2"/>
          <c:tx>
            <c:strRef>
              <c:f>'[Southern Water Corp Financial Case Study Gabriela Fernandez.xlsx]Revenue Analysis'!$A$64</c:f>
              <c:strCache>
                <c:ptCount val="1"/>
                <c:pt idx="0">
                  <c:v>Jut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3D27F1E-F0D4-48D6-99CE-2FCE8DF4D0DB}" type="VALUE">
                      <a:rPr lang="en-US">
                        <a:solidFill>
                          <a:schemeClr val="bg1">
                            <a:lumMod val="95000"/>
                          </a:schemeClr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18AD-4B05-BC09-82C2A510CC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outhern Water Corp Financial Case Study Gabriela Fernandez.xlsx]Revenue Analysis'!$B$61:$D$61</c:f>
              <c:strCache>
                <c:ptCount val="3"/>
                <c:pt idx="0">
                  <c:v>001 Private Water Hedge Sales</c:v>
                </c:pt>
                <c:pt idx="1">
                  <c:v>002 Public Sales</c:v>
                </c:pt>
                <c:pt idx="2">
                  <c:v>003 Residential Sales</c:v>
                </c:pt>
              </c:strCache>
            </c:strRef>
          </c:cat>
          <c:val>
            <c:numRef>
              <c:f>'[Southern Water Corp Financial Case Study Gabriela Fernandez.xlsx]Revenue Analysis'!$B$64:$D$64</c:f>
              <c:numCache>
                <c:formatCode>0.0%</c:formatCode>
                <c:ptCount val="3"/>
                <c:pt idx="0">
                  <c:v>0.41462998885337121</c:v>
                </c:pt>
                <c:pt idx="1">
                  <c:v>0.35498085766522625</c:v>
                </c:pt>
                <c:pt idx="2">
                  <c:v>0.23038915348140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8AD-4B05-BC09-82C2A510CC2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365759664"/>
        <c:axId val="341321408"/>
      </c:barChart>
      <c:catAx>
        <c:axId val="365759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1321408"/>
        <c:crosses val="autoZero"/>
        <c:auto val="1"/>
        <c:lblAlgn val="ctr"/>
        <c:lblOffset val="100"/>
        <c:noMultiLvlLbl val="0"/>
      </c:catAx>
      <c:valAx>
        <c:axId val="341321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5759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Kootha</a:t>
            </a:r>
            <a:r>
              <a:rPr lang="en-US" dirty="0"/>
              <a:t> Chemical</a:t>
            </a:r>
            <a:r>
              <a:rPr lang="en-US" baseline="0" dirty="0"/>
              <a:t> Expenditure vs. Water Production Actuals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0"/>
          <c:tx>
            <c:v>Kootha Chem-Exp (001)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[Southern Water Corp Financial Case Study Gabriela Fernandez.xlsx]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Expenses Analysis'!$F$105:$Q$105</c:f>
              <c:numCache>
                <c:formatCode>"$"#,##0.00;[Red]\-"$"#,##0.00</c:formatCode>
                <c:ptCount val="12"/>
                <c:pt idx="0">
                  <c:v>593751.84077137313</c:v>
                </c:pt>
                <c:pt idx="1">
                  <c:v>820393.03401412489</c:v>
                </c:pt>
                <c:pt idx="2">
                  <c:v>642291.58212862327</c:v>
                </c:pt>
                <c:pt idx="3">
                  <c:v>609639.97288837493</c:v>
                </c:pt>
                <c:pt idx="4">
                  <c:v>626073.16897124995</c:v>
                </c:pt>
                <c:pt idx="5">
                  <c:v>602153.37789750006</c:v>
                </c:pt>
                <c:pt idx="6">
                  <c:v>1146143.9846999997</c:v>
                </c:pt>
                <c:pt idx="7">
                  <c:v>964931.83751249989</c:v>
                </c:pt>
                <c:pt idx="8">
                  <c:v>962733.95790000004</c:v>
                </c:pt>
                <c:pt idx="9">
                  <c:v>964825.21760624985</c:v>
                </c:pt>
                <c:pt idx="10">
                  <c:v>1024534.78359375</c:v>
                </c:pt>
                <c:pt idx="11">
                  <c:v>1168045.22566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64-494D-A155-DB718AB6DB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95977423"/>
        <c:axId val="639945791"/>
        <c:extLst>
          <c:ext xmlns:c15="http://schemas.microsoft.com/office/drawing/2012/chart" uri="{02D57815-91ED-43cb-92C2-25804820EDAC}">
            <c15:filteredBarSeries>
              <c15:ser>
                <c:idx val="2"/>
                <c:order val="1"/>
                <c:tx>
                  <c:v>Surjek Chem-Exp (001)</c:v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Expenses Analysis'!$F$103:$Q$10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Expenses Analysis'!$F$106:$Q$106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2533034.5131168002</c:v>
                      </c:pt>
                      <c:pt idx="1">
                        <c:v>3051574.1625600001</c:v>
                      </c:pt>
                      <c:pt idx="2">
                        <c:v>3084202.7580672004</c:v>
                      </c:pt>
                      <c:pt idx="3">
                        <c:v>4135202.765971201</c:v>
                      </c:pt>
                      <c:pt idx="4">
                        <c:v>4473275.8948415993</c:v>
                      </c:pt>
                      <c:pt idx="5">
                        <c:v>3464957.9260800011</c:v>
                      </c:pt>
                      <c:pt idx="6">
                        <c:v>4049642.8266000003</c:v>
                      </c:pt>
                      <c:pt idx="7">
                        <c:v>4767948.2214000002</c:v>
                      </c:pt>
                      <c:pt idx="8">
                        <c:v>4346722.8083999995</c:v>
                      </c:pt>
                      <c:pt idx="9">
                        <c:v>4671541.1274000006</c:v>
                      </c:pt>
                      <c:pt idx="10">
                        <c:v>5478104.6040000012</c:v>
                      </c:pt>
                      <c:pt idx="11">
                        <c:v>2269805.1667200001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7664-494D-A155-DB718AB6DBEE}"/>
                  </c:ext>
                </c:extLst>
              </c15:ser>
            </c15:filteredBarSeries>
            <c15:filteredBarSeries>
              <c15:ser>
                <c:idx val="3"/>
                <c:order val="2"/>
                <c:tx>
                  <c:v>Jutik Chem-Exp (001)</c:v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Expenses Analysis'!$F$103:$Q$10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Expenses Analysis'!$F$107:$Q$107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1625596.3356633</c:v>
                      </c:pt>
                      <c:pt idx="1">
                        <c:v>1295067.8472731998</c:v>
                      </c:pt>
                      <c:pt idx="2">
                        <c:v>1750624.8818057997</c:v>
                      </c:pt>
                      <c:pt idx="3">
                        <c:v>1472529.3869285996</c:v>
                      </c:pt>
                      <c:pt idx="4">
                        <c:v>1252200.4923928501</c:v>
                      </c:pt>
                      <c:pt idx="5">
                        <c:v>1406782.6738875001</c:v>
                      </c:pt>
                      <c:pt idx="6">
                        <c:v>1877449.5046125001</c:v>
                      </c:pt>
                      <c:pt idx="7">
                        <c:v>1912219.1750437501</c:v>
                      </c:pt>
                      <c:pt idx="8">
                        <c:v>2266625.1980531253</c:v>
                      </c:pt>
                      <c:pt idx="9">
                        <c:v>2234200.5744250002</c:v>
                      </c:pt>
                      <c:pt idx="10">
                        <c:v>2593715.6428375002</c:v>
                      </c:pt>
                      <c:pt idx="11">
                        <c:v>2274807.7859325004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7664-494D-A155-DB718AB6DBEE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4"/>
          <c:order val="3"/>
          <c:tx>
            <c:v>Kootha Water Production</c:v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Expenses Analysis'!$F$108:$Q$108</c:f>
              <c:numCache>
                <c:formatCode>General</c:formatCode>
                <c:ptCount val="12"/>
                <c:pt idx="0">
                  <c:v>181.933291</c:v>
                </c:pt>
                <c:pt idx="1">
                  <c:v>187.44394299999999</c:v>
                </c:pt>
                <c:pt idx="2">
                  <c:v>184.77365699999999</c:v>
                </c:pt>
                <c:pt idx="3">
                  <c:v>191.54109299999999</c:v>
                </c:pt>
                <c:pt idx="4">
                  <c:v>98.096062000000003</c:v>
                </c:pt>
                <c:pt idx="5">
                  <c:v>185.30685299999999</c:v>
                </c:pt>
                <c:pt idx="6">
                  <c:v>186.90143900000001</c:v>
                </c:pt>
                <c:pt idx="7">
                  <c:v>158.58676500000001</c:v>
                </c:pt>
                <c:pt idx="8">
                  <c:v>191.40367599999999</c:v>
                </c:pt>
                <c:pt idx="9">
                  <c:v>171.057864</c:v>
                </c:pt>
                <c:pt idx="10">
                  <c:v>169.28699900000001</c:v>
                </c:pt>
                <c:pt idx="11">
                  <c:v>185.306852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664-494D-A155-DB718AB6DB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95964943"/>
        <c:axId val="639949263"/>
        <c:extLst>
          <c:ext xmlns:c15="http://schemas.microsoft.com/office/drawing/2012/chart" uri="{02D57815-91ED-43cb-92C2-25804820EDAC}">
            <c15:filteredLineSeries>
              <c15:ser>
                <c:idx val="5"/>
                <c:order val="4"/>
                <c:tx>
                  <c:v>Surjek Water Production</c:v>
                </c:tx>
                <c:spPr>
                  <a:ln w="28575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Expenses Analysis'!$F$103:$Q$10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Expenses Analysis'!$F$109:$Q$109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214.968999</c:v>
                      </c:pt>
                      <c:pt idx="1">
                        <c:v>228.199051</c:v>
                      </c:pt>
                      <c:pt idx="2">
                        <c:v>216.53646700000002</c:v>
                      </c:pt>
                      <c:pt idx="3">
                        <c:v>236.760276</c:v>
                      </c:pt>
                      <c:pt idx="4">
                        <c:v>232.052864</c:v>
                      </c:pt>
                      <c:pt idx="5">
                        <c:v>240.21016</c:v>
                      </c:pt>
                      <c:pt idx="6">
                        <c:v>288.160549</c:v>
                      </c:pt>
                      <c:pt idx="7">
                        <c:v>306.884524</c:v>
                      </c:pt>
                      <c:pt idx="8">
                        <c:v>367.65100600000005</c:v>
                      </c:pt>
                      <c:pt idx="9">
                        <c:v>351.99016599999999</c:v>
                      </c:pt>
                      <c:pt idx="10">
                        <c:v>362.822</c:v>
                      </c:pt>
                      <c:pt idx="11">
                        <c:v>260.31229999999999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4-7664-494D-A155-DB718AB6DBEE}"/>
                  </c:ext>
                </c:extLst>
              </c15:ser>
            </c15:filteredLineSeries>
            <c15:filteredLineSeries>
              <c15:ser>
                <c:idx val="6"/>
                <c:order val="5"/>
                <c:tx>
                  <c:v>Jutik Water Production</c:v>
                </c:tx>
                <c:spPr>
                  <a:ln w="28575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Expenses Analysis'!$F$103:$Q$10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Expenses Analysis'!$F$110:$Q$110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250.24199099999998</c:v>
                      </c:pt>
                      <c:pt idx="1">
                        <c:v>217.43019900000002</c:v>
                      </c:pt>
                      <c:pt idx="2">
                        <c:v>230.98220000000001</c:v>
                      </c:pt>
                      <c:pt idx="3">
                        <c:v>236.441136</c:v>
                      </c:pt>
                      <c:pt idx="4">
                        <c:v>241.40736899999999</c:v>
                      </c:pt>
                      <c:pt idx="5">
                        <c:v>220.380334</c:v>
                      </c:pt>
                      <c:pt idx="6">
                        <c:v>250.24199099999998</c:v>
                      </c:pt>
                      <c:pt idx="7">
                        <c:v>206.740703</c:v>
                      </c:pt>
                      <c:pt idx="8">
                        <c:v>201.23546099999996</c:v>
                      </c:pt>
                      <c:pt idx="9">
                        <c:v>174.36956599999999</c:v>
                      </c:pt>
                      <c:pt idx="10">
                        <c:v>204.09105</c:v>
                      </c:pt>
                      <c:pt idx="11">
                        <c:v>146.35666599999999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7664-494D-A155-DB718AB6DBEE}"/>
                  </c:ext>
                </c:extLst>
              </c15:ser>
            </c15:filteredLineSeries>
          </c:ext>
        </c:extLst>
      </c:lineChart>
      <c:dateAx>
        <c:axId val="795977423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vert="horz" wrap="square" anchor="b" anchorCtr="0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9945791"/>
        <c:crosses val="autoZero"/>
        <c:auto val="1"/>
        <c:lblOffset val="100"/>
        <c:baseTimeUnit val="months"/>
      </c:dateAx>
      <c:valAx>
        <c:axId val="6399457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5977423"/>
        <c:crosses val="autoZero"/>
        <c:crossBetween val="between"/>
      </c:valAx>
      <c:valAx>
        <c:axId val="639949263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5964943"/>
        <c:crosses val="max"/>
        <c:crossBetween val="between"/>
      </c:valAx>
      <c:dateAx>
        <c:axId val="795964943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639949263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kern="1200" spc="0" baseline="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Surjek</a:t>
            </a:r>
            <a:r>
              <a:rPr lang="en-US" sz="14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Chemical </a:t>
            </a:r>
          </a:p>
          <a:p>
            <a:pPr>
              <a:defRPr/>
            </a:pPr>
            <a:r>
              <a:rPr lang="en-US" sz="14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</a:rPr>
              <a:t>Expenditure vs. Water Production Actual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2"/>
          <c:order val="1"/>
          <c:tx>
            <c:v>Surjek Chem-Exp (001)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[Southern Water Corp Financial Case Study Gabriela Fernandez.xlsx]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Expenses Analysis'!$F$106:$Q$106</c:f>
              <c:numCache>
                <c:formatCode>"$"#,##0.00;[Red]\-"$"#,##0.00</c:formatCode>
                <c:ptCount val="12"/>
                <c:pt idx="0">
                  <c:v>2533034.5131168002</c:v>
                </c:pt>
                <c:pt idx="1">
                  <c:v>3051574.1625600001</c:v>
                </c:pt>
                <c:pt idx="2">
                  <c:v>3084202.7580672004</c:v>
                </c:pt>
                <c:pt idx="3">
                  <c:v>4135202.765971201</c:v>
                </c:pt>
                <c:pt idx="4">
                  <c:v>4473275.8948415993</c:v>
                </c:pt>
                <c:pt idx="5">
                  <c:v>3464957.9260800011</c:v>
                </c:pt>
                <c:pt idx="6">
                  <c:v>4049642.8266000003</c:v>
                </c:pt>
                <c:pt idx="7">
                  <c:v>4767948.2214000002</c:v>
                </c:pt>
                <c:pt idx="8">
                  <c:v>4346722.8083999995</c:v>
                </c:pt>
                <c:pt idx="9">
                  <c:v>4671541.1274000006</c:v>
                </c:pt>
                <c:pt idx="10">
                  <c:v>5478104.6040000012</c:v>
                </c:pt>
                <c:pt idx="11">
                  <c:v>2269805.16672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8C-49F3-89AE-5AE513739F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95977423"/>
        <c:axId val="639945791"/>
        <c:extLst>
          <c:ext xmlns:c15="http://schemas.microsoft.com/office/drawing/2012/chart" uri="{02D57815-91ED-43cb-92C2-25804820EDAC}">
            <c15:filteredBarSeries>
              <c15:ser>
                <c:idx val="1"/>
                <c:order val="0"/>
                <c:tx>
                  <c:v>Kootha Chem-Exp (001)</c:v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Expenses Analysis'!$F$103:$Q$10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Expenses Analysis'!$F$105:$Q$105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593751.84077137313</c:v>
                      </c:pt>
                      <c:pt idx="1">
                        <c:v>820393.03401412489</c:v>
                      </c:pt>
                      <c:pt idx="2">
                        <c:v>642291.58212862327</c:v>
                      </c:pt>
                      <c:pt idx="3">
                        <c:v>609639.97288837493</c:v>
                      </c:pt>
                      <c:pt idx="4">
                        <c:v>626073.16897124995</c:v>
                      </c:pt>
                      <c:pt idx="5">
                        <c:v>602153.37789750006</c:v>
                      </c:pt>
                      <c:pt idx="6">
                        <c:v>1146143.9846999997</c:v>
                      </c:pt>
                      <c:pt idx="7">
                        <c:v>964931.83751249989</c:v>
                      </c:pt>
                      <c:pt idx="8">
                        <c:v>962733.95790000004</c:v>
                      </c:pt>
                      <c:pt idx="9">
                        <c:v>964825.21760624985</c:v>
                      </c:pt>
                      <c:pt idx="10">
                        <c:v>1024534.78359375</c:v>
                      </c:pt>
                      <c:pt idx="11">
                        <c:v>1168045.22566875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DA8C-49F3-89AE-5AE513739FB4}"/>
                  </c:ext>
                </c:extLst>
              </c15:ser>
            </c15:filteredBarSeries>
            <c15:filteredBarSeries>
              <c15:ser>
                <c:idx val="3"/>
                <c:order val="2"/>
                <c:tx>
                  <c:v>Jutik Chem-Exp (001)</c:v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Expenses Analysis'!$F$103:$Q$10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Expenses Analysis'!$F$107:$Q$107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1625596.3356633</c:v>
                      </c:pt>
                      <c:pt idx="1">
                        <c:v>1295067.8472731998</c:v>
                      </c:pt>
                      <c:pt idx="2">
                        <c:v>1750624.8818057997</c:v>
                      </c:pt>
                      <c:pt idx="3">
                        <c:v>1472529.3869285996</c:v>
                      </c:pt>
                      <c:pt idx="4">
                        <c:v>1252200.4923928501</c:v>
                      </c:pt>
                      <c:pt idx="5">
                        <c:v>1406782.6738875001</c:v>
                      </c:pt>
                      <c:pt idx="6">
                        <c:v>1877449.5046125001</c:v>
                      </c:pt>
                      <c:pt idx="7">
                        <c:v>1912219.1750437501</c:v>
                      </c:pt>
                      <c:pt idx="8">
                        <c:v>2266625.1980531253</c:v>
                      </c:pt>
                      <c:pt idx="9">
                        <c:v>2234200.5744250002</c:v>
                      </c:pt>
                      <c:pt idx="10">
                        <c:v>2593715.6428375002</c:v>
                      </c:pt>
                      <c:pt idx="11">
                        <c:v>2274807.7859325004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DA8C-49F3-89AE-5AE513739FB4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5"/>
          <c:order val="4"/>
          <c:tx>
            <c:v>Surjek Water Production</c:v>
          </c:tx>
          <c:spPr>
            <a:ln w="28575" cap="rnd">
              <a:solidFill>
                <a:schemeClr val="accent3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Expenses Analysis'!$F$109:$Q$109</c:f>
              <c:numCache>
                <c:formatCode>General</c:formatCode>
                <c:ptCount val="12"/>
                <c:pt idx="0">
                  <c:v>214.968999</c:v>
                </c:pt>
                <c:pt idx="1">
                  <c:v>228.199051</c:v>
                </c:pt>
                <c:pt idx="2">
                  <c:v>216.53646700000002</c:v>
                </c:pt>
                <c:pt idx="3">
                  <c:v>236.760276</c:v>
                </c:pt>
                <c:pt idx="4">
                  <c:v>232.052864</c:v>
                </c:pt>
                <c:pt idx="5">
                  <c:v>240.21016</c:v>
                </c:pt>
                <c:pt idx="6">
                  <c:v>288.160549</c:v>
                </c:pt>
                <c:pt idx="7">
                  <c:v>306.884524</c:v>
                </c:pt>
                <c:pt idx="8">
                  <c:v>367.65100600000005</c:v>
                </c:pt>
                <c:pt idx="9">
                  <c:v>351.99016599999999</c:v>
                </c:pt>
                <c:pt idx="10">
                  <c:v>362.822</c:v>
                </c:pt>
                <c:pt idx="11">
                  <c:v>260.3122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A8C-49F3-89AE-5AE513739F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95964943"/>
        <c:axId val="639949263"/>
        <c:extLst>
          <c:ext xmlns:c15="http://schemas.microsoft.com/office/drawing/2012/chart" uri="{02D57815-91ED-43cb-92C2-25804820EDAC}">
            <c15:filteredLineSeries>
              <c15:ser>
                <c:idx val="4"/>
                <c:order val="3"/>
                <c:tx>
                  <c:v>Kootha Water Production</c:v>
                </c:tx>
                <c:spPr>
                  <a:ln w="28575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Expenses Analysis'!$F$103:$Q$10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Expenses Analysis'!$F$108:$Q$108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181.933291</c:v>
                      </c:pt>
                      <c:pt idx="1">
                        <c:v>187.44394299999999</c:v>
                      </c:pt>
                      <c:pt idx="2">
                        <c:v>184.77365699999999</c:v>
                      </c:pt>
                      <c:pt idx="3">
                        <c:v>191.54109299999999</c:v>
                      </c:pt>
                      <c:pt idx="4">
                        <c:v>98.096062000000003</c:v>
                      </c:pt>
                      <c:pt idx="5">
                        <c:v>185.30685299999999</c:v>
                      </c:pt>
                      <c:pt idx="6">
                        <c:v>186.90143900000001</c:v>
                      </c:pt>
                      <c:pt idx="7">
                        <c:v>158.58676500000001</c:v>
                      </c:pt>
                      <c:pt idx="8">
                        <c:v>191.40367599999999</c:v>
                      </c:pt>
                      <c:pt idx="9">
                        <c:v>171.057864</c:v>
                      </c:pt>
                      <c:pt idx="10">
                        <c:v>169.28699900000001</c:v>
                      </c:pt>
                      <c:pt idx="11">
                        <c:v>185.30685299999999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4-DA8C-49F3-89AE-5AE513739FB4}"/>
                  </c:ext>
                </c:extLst>
              </c15:ser>
            </c15:filteredLineSeries>
            <c15:filteredLineSeries>
              <c15:ser>
                <c:idx val="6"/>
                <c:order val="5"/>
                <c:tx>
                  <c:v>Jutik Water Production</c:v>
                </c:tx>
                <c:spPr>
                  <a:ln w="28575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Expenses Analysis'!$F$103:$Q$10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Expenses Analysis'!$F$110:$Q$110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250.24199099999998</c:v>
                      </c:pt>
                      <c:pt idx="1">
                        <c:v>217.43019900000002</c:v>
                      </c:pt>
                      <c:pt idx="2">
                        <c:v>230.98220000000001</c:v>
                      </c:pt>
                      <c:pt idx="3">
                        <c:v>236.441136</c:v>
                      </c:pt>
                      <c:pt idx="4">
                        <c:v>241.40736899999999</c:v>
                      </c:pt>
                      <c:pt idx="5">
                        <c:v>220.380334</c:v>
                      </c:pt>
                      <c:pt idx="6">
                        <c:v>250.24199099999998</c:v>
                      </c:pt>
                      <c:pt idx="7">
                        <c:v>206.740703</c:v>
                      </c:pt>
                      <c:pt idx="8">
                        <c:v>201.23546099999996</c:v>
                      </c:pt>
                      <c:pt idx="9">
                        <c:v>174.36956599999999</c:v>
                      </c:pt>
                      <c:pt idx="10">
                        <c:v>204.09105</c:v>
                      </c:pt>
                      <c:pt idx="11">
                        <c:v>146.35666599999999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DA8C-49F3-89AE-5AE513739FB4}"/>
                  </c:ext>
                </c:extLst>
              </c15:ser>
            </c15:filteredLineSeries>
          </c:ext>
        </c:extLst>
      </c:lineChart>
      <c:dateAx>
        <c:axId val="795977423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9945791"/>
        <c:crosses val="autoZero"/>
        <c:auto val="1"/>
        <c:lblOffset val="100"/>
        <c:baseTimeUnit val="months"/>
      </c:dateAx>
      <c:valAx>
        <c:axId val="6399457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5977423"/>
        <c:crosses val="autoZero"/>
        <c:crossBetween val="between"/>
      </c:valAx>
      <c:valAx>
        <c:axId val="639949263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5964943"/>
        <c:crosses val="max"/>
        <c:crossBetween val="between"/>
      </c:valAx>
      <c:dateAx>
        <c:axId val="795964943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639949263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kern="1200" spc="0" baseline="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Jutik</a:t>
            </a:r>
            <a:r>
              <a:rPr lang="en-US" sz="14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Chemical </a:t>
            </a:r>
          </a:p>
          <a:p>
            <a:pPr>
              <a:defRPr/>
            </a:pPr>
            <a:r>
              <a:rPr lang="en-US" sz="14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</a:rPr>
              <a:t>Expenditure vs. Water Production Actual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3"/>
          <c:order val="2"/>
          <c:tx>
            <c:v>Jutik Chem-Exp (001)</c:v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numRef>
              <c:f>'[Southern Water Corp Financial Case Study Gabriela Fernandez.xlsx]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Expenses Analysis'!$F$107:$Q$107</c:f>
              <c:numCache>
                <c:formatCode>"$"#,##0.00;[Red]\-"$"#,##0.00</c:formatCode>
                <c:ptCount val="12"/>
                <c:pt idx="0">
                  <c:v>1625596.3356633</c:v>
                </c:pt>
                <c:pt idx="1">
                  <c:v>1295067.8472731998</c:v>
                </c:pt>
                <c:pt idx="2">
                  <c:v>1750624.8818057997</c:v>
                </c:pt>
                <c:pt idx="3">
                  <c:v>1472529.3869285996</c:v>
                </c:pt>
                <c:pt idx="4">
                  <c:v>1252200.4923928501</c:v>
                </c:pt>
                <c:pt idx="5">
                  <c:v>1406782.6738875001</c:v>
                </c:pt>
                <c:pt idx="6">
                  <c:v>1877449.5046125001</c:v>
                </c:pt>
                <c:pt idx="7">
                  <c:v>1912219.1750437501</c:v>
                </c:pt>
                <c:pt idx="8">
                  <c:v>2266625.1980531253</c:v>
                </c:pt>
                <c:pt idx="9">
                  <c:v>2234200.5744250002</c:v>
                </c:pt>
                <c:pt idx="10">
                  <c:v>2593715.6428375002</c:v>
                </c:pt>
                <c:pt idx="11">
                  <c:v>2274807.7859325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5B-4B23-AAB8-FC39FE723A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95977423"/>
        <c:axId val="639945791"/>
        <c:extLst>
          <c:ext xmlns:c15="http://schemas.microsoft.com/office/drawing/2012/chart" uri="{02D57815-91ED-43cb-92C2-25804820EDAC}">
            <c15:filteredBarSeries>
              <c15:ser>
                <c:idx val="1"/>
                <c:order val="0"/>
                <c:tx>
                  <c:v>Kootha Chem-Exp (001)</c:v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Expenses Analysis'!$F$103:$Q$10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Expenses Analysis'!$F$105:$Q$105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593751.84077137313</c:v>
                      </c:pt>
                      <c:pt idx="1">
                        <c:v>820393.03401412489</c:v>
                      </c:pt>
                      <c:pt idx="2">
                        <c:v>642291.58212862327</c:v>
                      </c:pt>
                      <c:pt idx="3">
                        <c:v>609639.97288837493</c:v>
                      </c:pt>
                      <c:pt idx="4">
                        <c:v>626073.16897124995</c:v>
                      </c:pt>
                      <c:pt idx="5">
                        <c:v>602153.37789750006</c:v>
                      </c:pt>
                      <c:pt idx="6">
                        <c:v>1146143.9846999997</c:v>
                      </c:pt>
                      <c:pt idx="7">
                        <c:v>964931.83751249989</c:v>
                      </c:pt>
                      <c:pt idx="8">
                        <c:v>962733.95790000004</c:v>
                      </c:pt>
                      <c:pt idx="9">
                        <c:v>964825.21760624985</c:v>
                      </c:pt>
                      <c:pt idx="10">
                        <c:v>1024534.78359375</c:v>
                      </c:pt>
                      <c:pt idx="11">
                        <c:v>1168045.22566875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075B-4B23-AAB8-FC39FE723ABD}"/>
                  </c:ext>
                </c:extLst>
              </c15:ser>
            </c15:filteredBarSeries>
            <c15:filteredBarSeries>
              <c15:ser>
                <c:idx val="2"/>
                <c:order val="1"/>
                <c:tx>
                  <c:v>Surjek Chem-Exp (001)</c:v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Expenses Analysis'!$F$103:$Q$10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Expenses Analysis'!$F$106:$Q$106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2533034.5131168002</c:v>
                      </c:pt>
                      <c:pt idx="1">
                        <c:v>3051574.1625600001</c:v>
                      </c:pt>
                      <c:pt idx="2">
                        <c:v>3084202.7580672004</c:v>
                      </c:pt>
                      <c:pt idx="3">
                        <c:v>4135202.765971201</c:v>
                      </c:pt>
                      <c:pt idx="4">
                        <c:v>4473275.8948415993</c:v>
                      </c:pt>
                      <c:pt idx="5">
                        <c:v>3464957.9260800011</c:v>
                      </c:pt>
                      <c:pt idx="6">
                        <c:v>4049642.8266000003</c:v>
                      </c:pt>
                      <c:pt idx="7">
                        <c:v>4767948.2214000002</c:v>
                      </c:pt>
                      <c:pt idx="8">
                        <c:v>4346722.8083999995</c:v>
                      </c:pt>
                      <c:pt idx="9">
                        <c:v>4671541.1274000006</c:v>
                      </c:pt>
                      <c:pt idx="10">
                        <c:v>5478104.6040000012</c:v>
                      </c:pt>
                      <c:pt idx="11">
                        <c:v>2269805.166720000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075B-4B23-AAB8-FC39FE723ABD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6"/>
          <c:order val="5"/>
          <c:tx>
            <c:v>Jutik Water Production</c:v>
          </c:tx>
          <c:spPr>
            <a:ln w="28575" cap="rnd">
              <a:solidFill>
                <a:schemeClr val="accent3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Expenses Analysis'!$F$110:$Q$110</c:f>
              <c:numCache>
                <c:formatCode>General</c:formatCode>
                <c:ptCount val="12"/>
                <c:pt idx="0">
                  <c:v>250.24199099999998</c:v>
                </c:pt>
                <c:pt idx="1">
                  <c:v>217.43019900000002</c:v>
                </c:pt>
                <c:pt idx="2">
                  <c:v>230.98220000000001</c:v>
                </c:pt>
                <c:pt idx="3">
                  <c:v>236.441136</c:v>
                </c:pt>
                <c:pt idx="4">
                  <c:v>241.40736899999999</c:v>
                </c:pt>
                <c:pt idx="5">
                  <c:v>220.380334</c:v>
                </c:pt>
                <c:pt idx="6">
                  <c:v>250.24199099999998</c:v>
                </c:pt>
                <c:pt idx="7">
                  <c:v>206.740703</c:v>
                </c:pt>
                <c:pt idx="8">
                  <c:v>201.23546099999996</c:v>
                </c:pt>
                <c:pt idx="9">
                  <c:v>174.36956599999999</c:v>
                </c:pt>
                <c:pt idx="10">
                  <c:v>204.09105</c:v>
                </c:pt>
                <c:pt idx="11">
                  <c:v>146.356665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75B-4B23-AAB8-FC39FE723A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95964943"/>
        <c:axId val="639949263"/>
        <c:extLst>
          <c:ext xmlns:c15="http://schemas.microsoft.com/office/drawing/2012/chart" uri="{02D57815-91ED-43cb-92C2-25804820EDAC}">
            <c15:filteredLineSeries>
              <c15:ser>
                <c:idx val="4"/>
                <c:order val="3"/>
                <c:tx>
                  <c:v>Kootha Water Production</c:v>
                </c:tx>
                <c:spPr>
                  <a:ln w="28575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Expenses Analysis'!$F$103:$Q$10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Expenses Analysis'!$F$108:$Q$108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181.933291</c:v>
                      </c:pt>
                      <c:pt idx="1">
                        <c:v>187.44394299999999</c:v>
                      </c:pt>
                      <c:pt idx="2">
                        <c:v>184.77365699999999</c:v>
                      </c:pt>
                      <c:pt idx="3">
                        <c:v>191.54109299999999</c:v>
                      </c:pt>
                      <c:pt idx="4">
                        <c:v>98.096062000000003</c:v>
                      </c:pt>
                      <c:pt idx="5">
                        <c:v>185.30685299999999</c:v>
                      </c:pt>
                      <c:pt idx="6">
                        <c:v>186.90143900000001</c:v>
                      </c:pt>
                      <c:pt idx="7">
                        <c:v>158.58676500000001</c:v>
                      </c:pt>
                      <c:pt idx="8">
                        <c:v>191.40367599999999</c:v>
                      </c:pt>
                      <c:pt idx="9">
                        <c:v>171.057864</c:v>
                      </c:pt>
                      <c:pt idx="10">
                        <c:v>169.28699900000001</c:v>
                      </c:pt>
                      <c:pt idx="11">
                        <c:v>185.30685299999999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4-075B-4B23-AAB8-FC39FE723ABD}"/>
                  </c:ext>
                </c:extLst>
              </c15:ser>
            </c15:filteredLineSeries>
            <c15:filteredLineSeries>
              <c15:ser>
                <c:idx val="5"/>
                <c:order val="4"/>
                <c:tx>
                  <c:v>Surjek Water Production</c:v>
                </c:tx>
                <c:spPr>
                  <a:ln w="28575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Expenses Analysis'!$F$103:$Q$103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Expenses Analysis'!$F$109:$Q$109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214.968999</c:v>
                      </c:pt>
                      <c:pt idx="1">
                        <c:v>228.199051</c:v>
                      </c:pt>
                      <c:pt idx="2">
                        <c:v>216.53646700000002</c:v>
                      </c:pt>
                      <c:pt idx="3">
                        <c:v>236.760276</c:v>
                      </c:pt>
                      <c:pt idx="4">
                        <c:v>232.052864</c:v>
                      </c:pt>
                      <c:pt idx="5">
                        <c:v>240.21016</c:v>
                      </c:pt>
                      <c:pt idx="6">
                        <c:v>288.160549</c:v>
                      </c:pt>
                      <c:pt idx="7">
                        <c:v>306.884524</c:v>
                      </c:pt>
                      <c:pt idx="8">
                        <c:v>367.65100600000005</c:v>
                      </c:pt>
                      <c:pt idx="9">
                        <c:v>351.99016599999999</c:v>
                      </c:pt>
                      <c:pt idx="10">
                        <c:v>362.822</c:v>
                      </c:pt>
                      <c:pt idx="11">
                        <c:v>260.31229999999999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075B-4B23-AAB8-FC39FE723ABD}"/>
                  </c:ext>
                </c:extLst>
              </c15:ser>
            </c15:filteredLineSeries>
          </c:ext>
        </c:extLst>
      </c:lineChart>
      <c:dateAx>
        <c:axId val="795977423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9945791"/>
        <c:crosses val="autoZero"/>
        <c:auto val="1"/>
        <c:lblOffset val="100"/>
        <c:baseTimeUnit val="months"/>
      </c:dateAx>
      <c:valAx>
        <c:axId val="6399457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5977423"/>
        <c:crosses val="autoZero"/>
        <c:crossBetween val="between"/>
      </c:valAx>
      <c:valAx>
        <c:axId val="639949263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5964943"/>
        <c:crosses val="max"/>
        <c:crossBetween val="between"/>
      </c:valAx>
      <c:dateAx>
        <c:axId val="795964943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639949263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otal EBIT Per Un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Southern Water Corp Financial Case Study Gabriela Fernandez.xlsx]EBIT Analysis'!$A$23:$A$25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[Southern Water Corp Financial Case Study Gabriela Fernandez.xlsx]EBIT Analysis'!$Q$23:$Q$25</c:f>
              <c:numCache>
                <c:formatCode>"$"#,##0.00;[Red]\-"$"#,##0.00</c:formatCode>
                <c:ptCount val="3"/>
                <c:pt idx="0">
                  <c:v>19721133.205825485</c:v>
                </c:pt>
                <c:pt idx="1">
                  <c:v>22936250.12903415</c:v>
                </c:pt>
                <c:pt idx="2">
                  <c:v>72941736.0971943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DC6-46F9-8B2B-C077015B20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421186607"/>
        <c:axId val="1905469183"/>
      </c:barChart>
      <c:catAx>
        <c:axId val="14211866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05469183"/>
        <c:crosses val="autoZero"/>
        <c:auto val="1"/>
        <c:lblAlgn val="ctr"/>
        <c:lblOffset val="100"/>
        <c:noMultiLvlLbl val="0"/>
      </c:catAx>
      <c:valAx>
        <c:axId val="190546918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211866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EBIT Margin Trend by Unit</a:t>
            </a:r>
          </a:p>
        </c:rich>
      </c:tx>
      <c:layout>
        <c:manualLayout>
          <c:xMode val="edge"/>
          <c:yMode val="edge"/>
          <c:x val="0.30916272676065859"/>
          <c:y val="9.0097013910647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2652559055118109"/>
          <c:y val="0.22263888888888889"/>
          <c:w val="0.70705235398635835"/>
          <c:h val="0.54757435663992515"/>
        </c:manualLayout>
      </c:layout>
      <c:lineChart>
        <c:grouping val="standard"/>
        <c:varyColors val="0"/>
        <c:ser>
          <c:idx val="0"/>
          <c:order val="0"/>
          <c:tx>
            <c:strRef>
              <c:f>'[Southern Water Corp Financial Case Study Gabriela Fernandez.xlsx]EBIT Analysis'!$A$56</c:f>
              <c:strCache>
                <c:ptCount val="1"/>
                <c:pt idx="0">
                  <c:v>Kooth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BIT Analysis'!$E$54:$P$5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EBIT Analysis'!$E$56:$P$56</c:f>
              <c:numCache>
                <c:formatCode>0.00%</c:formatCode>
                <c:ptCount val="12"/>
                <c:pt idx="0">
                  <c:v>0.41529437933894875</c:v>
                </c:pt>
                <c:pt idx="1">
                  <c:v>0.16120151183040166</c:v>
                </c:pt>
                <c:pt idx="2">
                  <c:v>0.28887410723655493</c:v>
                </c:pt>
                <c:pt idx="3">
                  <c:v>0.32001932998338012</c:v>
                </c:pt>
                <c:pt idx="4">
                  <c:v>0.33869312626258291</c:v>
                </c:pt>
                <c:pt idx="5">
                  <c:v>0.34820783846476255</c:v>
                </c:pt>
                <c:pt idx="6">
                  <c:v>0.32889058147025918</c:v>
                </c:pt>
                <c:pt idx="7">
                  <c:v>0.36170053874987812</c:v>
                </c:pt>
                <c:pt idx="8">
                  <c:v>0.3957450352355435</c:v>
                </c:pt>
                <c:pt idx="9">
                  <c:v>0.17121060352256295</c:v>
                </c:pt>
                <c:pt idx="10">
                  <c:v>0.13014434409940612</c:v>
                </c:pt>
                <c:pt idx="11">
                  <c:v>-3.201545269286375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B4B-461E-9B79-3B622B519EAD}"/>
            </c:ext>
          </c:extLst>
        </c:ser>
        <c:ser>
          <c:idx val="1"/>
          <c:order val="1"/>
          <c:tx>
            <c:strRef>
              <c:f>'[Southern Water Corp Financial Case Study Gabriela Fernandez.xlsx]EBIT Analysis'!$A$57</c:f>
              <c:strCache>
                <c:ptCount val="1"/>
                <c:pt idx="0">
                  <c:v>Surjek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BIT Analysis'!$E$54:$P$5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EBIT Analysis'!$E$57:$P$57</c:f>
              <c:numCache>
                <c:formatCode>0.00%</c:formatCode>
                <c:ptCount val="12"/>
                <c:pt idx="0">
                  <c:v>0.3455956940538133</c:v>
                </c:pt>
                <c:pt idx="1">
                  <c:v>6.4599684274176436E-2</c:v>
                </c:pt>
                <c:pt idx="2">
                  <c:v>0.14433359289184161</c:v>
                </c:pt>
                <c:pt idx="3">
                  <c:v>-0.22177748431522884</c:v>
                </c:pt>
                <c:pt idx="4">
                  <c:v>-0.44766201795834271</c:v>
                </c:pt>
                <c:pt idx="5">
                  <c:v>0.16732145063494736</c:v>
                </c:pt>
                <c:pt idx="6">
                  <c:v>0.37427618015254988</c:v>
                </c:pt>
                <c:pt idx="7">
                  <c:v>0.11368942332287189</c:v>
                </c:pt>
                <c:pt idx="8">
                  <c:v>0.23574321478746135</c:v>
                </c:pt>
                <c:pt idx="9">
                  <c:v>0.11675504697526991</c:v>
                </c:pt>
                <c:pt idx="10">
                  <c:v>-0.29356581548975247</c:v>
                </c:pt>
                <c:pt idx="11">
                  <c:v>0.474821611306421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B4B-461E-9B79-3B622B519EAD}"/>
            </c:ext>
          </c:extLst>
        </c:ser>
        <c:ser>
          <c:idx val="2"/>
          <c:order val="2"/>
          <c:tx>
            <c:strRef>
              <c:f>'[Southern Water Corp Financial Case Study Gabriela Fernandez.xlsx]EBIT Analysis'!$A$58</c:f>
              <c:strCache>
                <c:ptCount val="1"/>
                <c:pt idx="0">
                  <c:v>Jutik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BIT Analysis'!$E$54:$P$5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EBIT Analysis'!$E$58:$P$58</c:f>
              <c:numCache>
                <c:formatCode>0.00%</c:formatCode>
                <c:ptCount val="12"/>
                <c:pt idx="0">
                  <c:v>0.35762388953297342</c:v>
                </c:pt>
                <c:pt idx="1">
                  <c:v>0.5013107546263732</c:v>
                </c:pt>
                <c:pt idx="2">
                  <c:v>0.33532439120342417</c:v>
                </c:pt>
                <c:pt idx="3">
                  <c:v>0.37373471996246976</c:v>
                </c:pt>
                <c:pt idx="4">
                  <c:v>0.47039691903281722</c:v>
                </c:pt>
                <c:pt idx="5">
                  <c:v>0.47313004208100951</c:v>
                </c:pt>
                <c:pt idx="6">
                  <c:v>0.5353020289864372</c:v>
                </c:pt>
                <c:pt idx="7">
                  <c:v>0.52577909011510338</c:v>
                </c:pt>
                <c:pt idx="8">
                  <c:v>0.38588068285200638</c:v>
                </c:pt>
                <c:pt idx="9">
                  <c:v>0.55152119278952894</c:v>
                </c:pt>
                <c:pt idx="10">
                  <c:v>0.43228332459198315</c:v>
                </c:pt>
                <c:pt idx="11">
                  <c:v>0.373034955444315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B4B-461E-9B79-3B622B519E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17278863"/>
        <c:axId val="1080936703"/>
      </c:lineChart>
      <c:dateAx>
        <c:axId val="2017278863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b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80936703"/>
        <c:crosses val="autoZero"/>
        <c:auto val="1"/>
        <c:lblOffset val="100"/>
        <c:baseTimeUnit val="months"/>
      </c:dateAx>
      <c:valAx>
        <c:axId val="10809367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727886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urjek Revenues (Jul</a:t>
            </a:r>
            <a:r>
              <a:rPr lang="en-US" baseline="0"/>
              <a:t> 13- Jun14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6068079842683479E-2"/>
          <c:y val="0.34588420045528029"/>
          <c:w val="0.66133708535857427"/>
          <c:h val="0.51025858599188423"/>
        </c:manualLayout>
      </c:layout>
      <c:lineChart>
        <c:grouping val="standard"/>
        <c:varyColors val="0"/>
        <c:ser>
          <c:idx val="4"/>
          <c:order val="0"/>
          <c:tx>
            <c:v>Surjek 001 Private Water Hedge Sales</c:v>
          </c:tx>
          <c:spPr>
            <a:ln w="38100" cap="rnd">
              <a:solidFill>
                <a:schemeClr val="accent4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Revenue Analysis'!$E$37:$P$37</c:f>
              <c:numCache>
                <c:formatCode>"$"#,##0.00;[Red]\-"$"#,##0.00</c:formatCode>
                <c:ptCount val="12"/>
                <c:pt idx="0">
                  <c:v>7220021.2387499996</c:v>
                </c:pt>
                <c:pt idx="1">
                  <c:v>6085131.0149999997</c:v>
                </c:pt>
                <c:pt idx="2">
                  <c:v>6723291.7162500005</c:v>
                </c:pt>
                <c:pt idx="3">
                  <c:v>6313180.5299999993</c:v>
                </c:pt>
                <c:pt idx="4">
                  <c:v>5763708.6674999995</c:v>
                </c:pt>
                <c:pt idx="5">
                  <c:v>6484566.5099999998</c:v>
                </c:pt>
                <c:pt idx="6">
                  <c:v>9314190.6750000007</c:v>
                </c:pt>
                <c:pt idx="7">
                  <c:v>6750396.1374999993</c:v>
                </c:pt>
                <c:pt idx="8">
                  <c:v>8185283.6587499995</c:v>
                </c:pt>
                <c:pt idx="9">
                  <c:v>6778514.602500001</c:v>
                </c:pt>
                <c:pt idx="10">
                  <c:v>6094707.7050000001</c:v>
                </c:pt>
                <c:pt idx="11">
                  <c:v>6735069.6974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527-42D9-9DAE-35112C9E83F8}"/>
            </c:ext>
          </c:extLst>
        </c:ser>
        <c:ser>
          <c:idx val="5"/>
          <c:order val="1"/>
          <c:tx>
            <c:v>Surjek 002 Public Sales</c:v>
          </c:tx>
          <c:spPr>
            <a:ln w="28575" cap="rnd">
              <a:solidFill>
                <a:schemeClr val="accent6">
                  <a:lumMod val="50000"/>
                </a:schemeClr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Revenue Analysis'!$E$38:$P$38</c:f>
              <c:numCache>
                <c:formatCode>"$"#,##0.00;[Red]\-"$"#,##0.00</c:formatCode>
                <c:ptCount val="12"/>
                <c:pt idx="0">
                  <c:v>5968550.8906999994</c:v>
                </c:pt>
                <c:pt idx="1">
                  <c:v>5030374.9724000003</c:v>
                </c:pt>
                <c:pt idx="2">
                  <c:v>5557921.1521000005</c:v>
                </c:pt>
                <c:pt idx="3">
                  <c:v>5218895.9047999997</c:v>
                </c:pt>
                <c:pt idx="4">
                  <c:v>4764665.8318000007</c:v>
                </c:pt>
                <c:pt idx="5">
                  <c:v>5360574.9815999996</c:v>
                </c:pt>
                <c:pt idx="6">
                  <c:v>7699730.9580000006</c:v>
                </c:pt>
                <c:pt idx="7">
                  <c:v>6985660.807</c:v>
                </c:pt>
                <c:pt idx="8">
                  <c:v>6766501.1579</c:v>
                </c:pt>
                <c:pt idx="9">
                  <c:v>6603572.0713999998</c:v>
                </c:pt>
                <c:pt idx="10">
                  <c:v>5038291.7028000001</c:v>
                </c:pt>
                <c:pt idx="11">
                  <c:v>5567657.6166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527-42D9-9DAE-35112C9E83F8}"/>
            </c:ext>
          </c:extLst>
        </c:ser>
        <c:ser>
          <c:idx val="6"/>
          <c:order val="2"/>
          <c:tx>
            <c:v>Surjek 003 Residential Sales</c:v>
          </c:tx>
          <c:spPr>
            <a:ln w="28575" cap="rnd">
              <a:solidFill>
                <a:schemeClr val="accent6">
                  <a:lumMod val="7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Revenue Analysis'!$E$39:$P$39</c:f>
              <c:numCache>
                <c:formatCode>General</c:formatCode>
                <c:ptCount val="12"/>
                <c:pt idx="0">
                  <c:v>4139478.8435499985</c:v>
                </c:pt>
                <c:pt idx="1">
                  <c:v>3488808.4485999988</c:v>
                </c:pt>
                <c:pt idx="2">
                  <c:v>3854687.2506499989</c:v>
                </c:pt>
                <c:pt idx="3">
                  <c:v>3619556.8371999986</c:v>
                </c:pt>
                <c:pt idx="4">
                  <c:v>3304526.302699999</c:v>
                </c:pt>
                <c:pt idx="5">
                  <c:v>3717818.1323999991</c:v>
                </c:pt>
                <c:pt idx="6">
                  <c:v>5340135.9869999988</c:v>
                </c:pt>
                <c:pt idx="7">
                  <c:v>4844893.7854999984</c:v>
                </c:pt>
                <c:pt idx="8">
                  <c:v>4692895.9643499991</c:v>
                </c:pt>
                <c:pt idx="9">
                  <c:v>4886348.3721000003</c:v>
                </c:pt>
                <c:pt idx="10">
                  <c:v>3494299.084199999</c:v>
                </c:pt>
                <c:pt idx="11">
                  <c:v>3861439.95989999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527-42D9-9DAE-35112C9E83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26546800"/>
        <c:axId val="1568304848"/>
        <c:extLst>
          <c:ext xmlns:c15="http://schemas.microsoft.com/office/drawing/2012/chart" uri="{02D57815-91ED-43cb-92C2-25804820EDAC}">
            <c15:filteredLineSeries>
              <c15:ser>
                <c:idx val="7"/>
                <c:order val="3"/>
                <c:tx>
                  <c:v>Jutik 001 Private Water Hedge Sale</c:v>
                </c:tx>
                <c:spPr>
                  <a:ln w="28575" cap="rnd">
                    <a:solidFill>
                      <a:schemeClr val="accent4">
                        <a:lumMod val="75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Revenue Analysis'!$E$40:$P$40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12"/>
                      <c:pt idx="0">
                        <c:v>5298686.1637500003</c:v>
                      </c:pt>
                      <c:pt idx="1">
                        <c:v>5854268.2837499995</c:v>
                      </c:pt>
                      <c:pt idx="2">
                        <c:v>5098113.7162500005</c:v>
                      </c:pt>
                      <c:pt idx="3">
                        <c:v>4506567.6112500001</c:v>
                      </c:pt>
                      <c:pt idx="4">
                        <c:v>4950718.5187500007</c:v>
                      </c:pt>
                      <c:pt idx="5">
                        <c:v>4219638.2549999999</c:v>
                      </c:pt>
                      <c:pt idx="6">
                        <c:v>6454620.584999999</c:v>
                      </c:pt>
                      <c:pt idx="7">
                        <c:v>6573684.678749999</c:v>
                      </c:pt>
                      <c:pt idx="8">
                        <c:v>5896579.8487499999</c:v>
                      </c:pt>
                      <c:pt idx="9">
                        <c:v>6254734.0800000001</c:v>
                      </c:pt>
                      <c:pt idx="10">
                        <c:v>6161098.0612500003</c:v>
                      </c:pt>
                      <c:pt idx="11">
                        <c:v>6591800.7712500002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D527-42D9-9DAE-35112C9E83F8}"/>
                  </c:ext>
                </c:extLst>
              </c15:ser>
            </c15:filteredLineSeries>
            <c15:filteredLineSeries>
              <c15:ser>
                <c:idx val="8"/>
                <c:order val="4"/>
                <c:tx>
                  <c:v>Jutik 002 Public Sales</c:v>
                </c:tx>
                <c:spPr>
                  <a:ln w="28575" cap="rnd">
                    <a:solidFill>
                      <a:schemeClr val="accent4">
                        <a:lumMod val="75000"/>
                      </a:schemeClr>
                    </a:solidFill>
                    <a:prstDash val="dash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41:$P$41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4380247.2286999999</c:v>
                      </c:pt>
                      <c:pt idx="1">
                        <c:v>3839528.4479</c:v>
                      </c:pt>
                      <c:pt idx="2">
                        <c:v>5214440.6721000001</c:v>
                      </c:pt>
                      <c:pt idx="3">
                        <c:v>4725429.2253</c:v>
                      </c:pt>
                      <c:pt idx="4">
                        <c:v>4092593.9755000006</c:v>
                      </c:pt>
                      <c:pt idx="5">
                        <c:v>4488234.2907999996</c:v>
                      </c:pt>
                      <c:pt idx="6">
                        <c:v>5335819.6836000001</c:v>
                      </c:pt>
                      <c:pt idx="7">
                        <c:v>5434246.0011</c:v>
                      </c:pt>
                      <c:pt idx="8">
                        <c:v>4874506.0082999999</c:v>
                      </c:pt>
                      <c:pt idx="9">
                        <c:v>5170580.1728000008</c:v>
                      </c:pt>
                      <c:pt idx="10">
                        <c:v>5093174.3973000003</c:v>
                      </c:pt>
                      <c:pt idx="11">
                        <c:v>5449221.970900000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D527-42D9-9DAE-35112C9E83F8}"/>
                  </c:ext>
                </c:extLst>
              </c15:ser>
            </c15:filteredLineSeries>
            <c15:filteredLineSeries>
              <c15:ser>
                <c:idx val="9"/>
                <c:order val="5"/>
                <c:tx>
                  <c:v>Jutik 003 Residential Sales</c:v>
                </c:tx>
                <c:spPr>
                  <a:ln w="28575" cap="rnd">
                    <a:solidFill>
                      <a:schemeClr val="accent4">
                        <a:lumMod val="75000"/>
                      </a:schemeClr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42:$P$42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12"/>
                      <c:pt idx="0">
                        <c:v>3037913.400549999</c:v>
                      </c:pt>
                      <c:pt idx="1">
                        <c:v>3356447.1493499991</c:v>
                      </c:pt>
                      <c:pt idx="2">
                        <c:v>2922918.5306499992</c:v>
                      </c:pt>
                      <c:pt idx="3">
                        <c:v>2583765.4304499994</c:v>
                      </c:pt>
                      <c:pt idx="4">
                        <c:v>2838411.9507499994</c:v>
                      </c:pt>
                      <c:pt idx="5">
                        <c:v>2419259.2661999995</c:v>
                      </c:pt>
                      <c:pt idx="6">
                        <c:v>3700649.1353999986</c:v>
                      </c:pt>
                      <c:pt idx="7">
                        <c:v>3768912.5491499985</c:v>
                      </c:pt>
                      <c:pt idx="8">
                        <c:v>3380705.7799499989</c:v>
                      </c:pt>
                      <c:pt idx="9">
                        <c:v>3586047.5391999991</c:v>
                      </c:pt>
                      <c:pt idx="10">
                        <c:v>3032362.88845</c:v>
                      </c:pt>
                      <c:pt idx="11">
                        <c:v>3079299.1088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D527-42D9-9DAE-35112C9E83F8}"/>
                  </c:ext>
                </c:extLst>
              </c15:ser>
            </c15:filteredLineSeries>
            <c15:filteredLineSeries>
              <c15:ser>
                <c:idx val="1"/>
                <c:order val="6"/>
                <c:tx>
                  <c:v>Kootha 001 Private Water Hedge Sales</c:v>
                </c:tx>
                <c:spPr>
                  <a:ln w="28575" cap="rnd">
                    <a:solidFill>
                      <a:srgbClr val="C0000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4:$P$34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3094536.9986999994</c:v>
                      </c:pt>
                      <c:pt idx="1">
                        <c:v>2980521.8105250001</c:v>
                      </c:pt>
                      <c:pt idx="2">
                        <c:v>2752413.7409999999</c:v>
                      </c:pt>
                      <c:pt idx="3">
                        <c:v>2732151.9371999996</c:v>
                      </c:pt>
                      <c:pt idx="4">
                        <c:v>2885028.0122999996</c:v>
                      </c:pt>
                      <c:pt idx="5">
                        <c:v>2815308.3782250006</c:v>
                      </c:pt>
                      <c:pt idx="6">
                        <c:v>4092821.3597249994</c:v>
                      </c:pt>
                      <c:pt idx="7">
                        <c:v>3622839.5636999998</c:v>
                      </c:pt>
                      <c:pt idx="8">
                        <c:v>3818238.1009499999</c:v>
                      </c:pt>
                      <c:pt idx="9">
                        <c:v>2789853.534825</c:v>
                      </c:pt>
                      <c:pt idx="10">
                        <c:v>2822646.2911499999</c:v>
                      </c:pt>
                      <c:pt idx="11">
                        <c:v>2712379.1803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D527-42D9-9DAE-35112C9E83F8}"/>
                  </c:ext>
                </c:extLst>
              </c15:ser>
            </c15:filteredLineSeries>
            <c15:filteredLineSeries>
              <c15:ser>
                <c:idx val="2"/>
                <c:order val="7"/>
                <c:tx>
                  <c:v>Kootha 002 Public Sales</c:v>
                </c:tx>
                <c:spPr>
                  <a:ln w="28575" cap="rnd">
                    <a:solidFill>
                      <a:srgbClr val="C00000"/>
                    </a:solidFill>
                    <a:prstDash val="dash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5:$P$35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1523285.8376100748</c:v>
                      </c:pt>
                      <c:pt idx="1">
                        <c:v>1467161.8612309312</c:v>
                      </c:pt>
                      <c:pt idx="2">
                        <c:v>1354875.66400725</c:v>
                      </c:pt>
                      <c:pt idx="3">
                        <c:v>1344901.7910867</c:v>
                      </c:pt>
                      <c:pt idx="4">
                        <c:v>1420155.039054675</c:v>
                      </c:pt>
                      <c:pt idx="5">
                        <c:v>1385835.5491812564</c:v>
                      </c:pt>
                      <c:pt idx="6">
                        <c:v>2014691.3143246307</c:v>
                      </c:pt>
                      <c:pt idx="7">
                        <c:v>1783342.7752313251</c:v>
                      </c:pt>
                      <c:pt idx="8">
                        <c:v>1879527.7051926372</c:v>
                      </c:pt>
                      <c:pt idx="9">
                        <c:v>1373305.4025176065</c:v>
                      </c:pt>
                      <c:pt idx="10">
                        <c:v>1389447.6368185873</c:v>
                      </c:pt>
                      <c:pt idx="11">
                        <c:v>1335168.651527287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D527-42D9-9DAE-35112C9E83F8}"/>
                  </c:ext>
                </c:extLst>
              </c15:ser>
            </c15:filteredLineSeries>
            <c15:filteredLineSeries>
              <c15:ser>
                <c:idx val="3"/>
                <c:order val="8"/>
                <c:tx>
                  <c:v>Kootha 003 Residential Sales</c:v>
                </c:tx>
                <c:spPr>
                  <a:ln w="28575" cap="rnd">
                    <a:solidFill>
                      <a:srgbClr val="FF0000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6:$P$36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12"/>
                      <c:pt idx="0">
                        <c:v>1296758.36136</c:v>
                      </c:pt>
                      <c:pt idx="1">
                        <c:v>1248980.56822</c:v>
                      </c:pt>
                      <c:pt idx="2">
                        <c:v>1153392.4247999999</c:v>
                      </c:pt>
                      <c:pt idx="3">
                        <c:v>1144901.76416</c:v>
                      </c:pt>
                      <c:pt idx="4">
                        <c:v>1208964.11944</c:v>
                      </c:pt>
                      <c:pt idx="5">
                        <c:v>1179748.2727800002</c:v>
                      </c:pt>
                      <c:pt idx="6">
                        <c:v>1715087.0459799999</c:v>
                      </c:pt>
                      <c:pt idx="7">
                        <c:v>1518142.2933600002</c:v>
                      </c:pt>
                      <c:pt idx="8">
                        <c:v>1600023.58516</c:v>
                      </c:pt>
                      <c:pt idx="9">
                        <c:v>1169081.4812600003</c:v>
                      </c:pt>
                      <c:pt idx="10">
                        <c:v>1182823.2077200001</c:v>
                      </c:pt>
                      <c:pt idx="11">
                        <c:v>1136616.037480000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D527-42D9-9DAE-35112C9E83F8}"/>
                  </c:ext>
                </c:extLst>
              </c15:ser>
            </c15:filteredLineSeries>
          </c:ext>
        </c:extLst>
      </c:lineChart>
      <c:dateAx>
        <c:axId val="32654680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68304848"/>
        <c:crosses val="autoZero"/>
        <c:auto val="1"/>
        <c:lblOffset val="100"/>
        <c:baseTimeUnit val="months"/>
      </c:dateAx>
      <c:valAx>
        <c:axId val="1568304848"/>
        <c:scaling>
          <c:orientation val="minMax"/>
        </c:scaling>
        <c:delete val="0"/>
        <c:axPos val="l"/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65468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6">
          <a:lumMod val="20000"/>
          <a:lumOff val="8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Jutik Revenues (Jul</a:t>
            </a:r>
            <a:r>
              <a:rPr lang="en-US" baseline="0"/>
              <a:t> 13- Jun14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6068079842683479E-2"/>
          <c:y val="0.33559610012743063"/>
          <c:w val="0.66133708535857427"/>
          <c:h val="0.54712971048968917"/>
        </c:manualLayout>
      </c:layout>
      <c:lineChart>
        <c:grouping val="standard"/>
        <c:varyColors val="0"/>
        <c:ser>
          <c:idx val="7"/>
          <c:order val="3"/>
          <c:tx>
            <c:v>Jutik 001 Private Water Hedge Sale</c:v>
          </c:tx>
          <c:spPr>
            <a:ln w="28575" cap="rnd">
              <a:solidFill>
                <a:schemeClr val="accent4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Revenue Analysis'!$E$40:$P$40</c:f>
              <c:numCache>
                <c:formatCode>_("$"* #,##0.00_);_("$"* \(#,##0.00\);_("$"* "-"??_);_(@_)</c:formatCode>
                <c:ptCount val="12"/>
                <c:pt idx="0">
                  <c:v>5298686.1637500003</c:v>
                </c:pt>
                <c:pt idx="1">
                  <c:v>5854268.2837499995</c:v>
                </c:pt>
                <c:pt idx="2">
                  <c:v>5098113.7162500005</c:v>
                </c:pt>
                <c:pt idx="3">
                  <c:v>4506567.6112500001</c:v>
                </c:pt>
                <c:pt idx="4">
                  <c:v>4950718.5187500007</c:v>
                </c:pt>
                <c:pt idx="5">
                  <c:v>4219638.2549999999</c:v>
                </c:pt>
                <c:pt idx="6">
                  <c:v>6454620.584999999</c:v>
                </c:pt>
                <c:pt idx="7">
                  <c:v>6573684.678749999</c:v>
                </c:pt>
                <c:pt idx="8">
                  <c:v>5896579.8487499999</c:v>
                </c:pt>
                <c:pt idx="9">
                  <c:v>6254734.0800000001</c:v>
                </c:pt>
                <c:pt idx="10">
                  <c:v>6161098.0612500003</c:v>
                </c:pt>
                <c:pt idx="11">
                  <c:v>6591800.77125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FCC-47A8-8FE9-0E68D3DD1535}"/>
            </c:ext>
          </c:extLst>
        </c:ser>
        <c:ser>
          <c:idx val="8"/>
          <c:order val="4"/>
          <c:tx>
            <c:v>Jutik 002 Public Sales</c:v>
          </c:tx>
          <c:spPr>
            <a:ln w="28575" cap="rnd">
              <a:solidFill>
                <a:schemeClr val="accent6">
                  <a:lumMod val="50000"/>
                </a:schemeClr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Revenue Analysis'!$E$41:$P$41</c:f>
              <c:numCache>
                <c:formatCode>"$"#,##0.00;[Red]\-"$"#,##0.00</c:formatCode>
                <c:ptCount val="12"/>
                <c:pt idx="0">
                  <c:v>4380247.2286999999</c:v>
                </c:pt>
                <c:pt idx="1">
                  <c:v>3839528.4479</c:v>
                </c:pt>
                <c:pt idx="2">
                  <c:v>5214440.6721000001</c:v>
                </c:pt>
                <c:pt idx="3">
                  <c:v>4725429.2253</c:v>
                </c:pt>
                <c:pt idx="4">
                  <c:v>4092593.9755000006</c:v>
                </c:pt>
                <c:pt idx="5">
                  <c:v>4488234.2907999996</c:v>
                </c:pt>
                <c:pt idx="6">
                  <c:v>5335819.6836000001</c:v>
                </c:pt>
                <c:pt idx="7">
                  <c:v>5434246.0011</c:v>
                </c:pt>
                <c:pt idx="8">
                  <c:v>4874506.0082999999</c:v>
                </c:pt>
                <c:pt idx="9">
                  <c:v>5170580.1728000008</c:v>
                </c:pt>
                <c:pt idx="10">
                  <c:v>5093174.3973000003</c:v>
                </c:pt>
                <c:pt idx="11">
                  <c:v>5449221.9709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FCC-47A8-8FE9-0E68D3DD1535}"/>
            </c:ext>
          </c:extLst>
        </c:ser>
        <c:ser>
          <c:idx val="9"/>
          <c:order val="5"/>
          <c:tx>
            <c:v>Jutik 003 Residential Sales</c:v>
          </c:tx>
          <c:spPr>
            <a:ln w="28575" cap="rnd">
              <a:solidFill>
                <a:schemeClr val="accent6">
                  <a:lumMod val="7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Revenue Analysis'!$E$42:$P$42</c:f>
              <c:numCache>
                <c:formatCode>_("$"* #,##0.00_);_("$"* \(#,##0.00\);_("$"* "-"??_);_(@_)</c:formatCode>
                <c:ptCount val="12"/>
                <c:pt idx="0">
                  <c:v>3037913.400549999</c:v>
                </c:pt>
                <c:pt idx="1">
                  <c:v>3356447.1493499991</c:v>
                </c:pt>
                <c:pt idx="2">
                  <c:v>2922918.5306499992</c:v>
                </c:pt>
                <c:pt idx="3">
                  <c:v>2583765.4304499994</c:v>
                </c:pt>
                <c:pt idx="4">
                  <c:v>2838411.9507499994</c:v>
                </c:pt>
                <c:pt idx="5">
                  <c:v>2419259.2661999995</c:v>
                </c:pt>
                <c:pt idx="6">
                  <c:v>3700649.1353999986</c:v>
                </c:pt>
                <c:pt idx="7">
                  <c:v>3768912.5491499985</c:v>
                </c:pt>
                <c:pt idx="8">
                  <c:v>3380705.7799499989</c:v>
                </c:pt>
                <c:pt idx="9">
                  <c:v>3586047.5391999991</c:v>
                </c:pt>
                <c:pt idx="10">
                  <c:v>3032362.88845</c:v>
                </c:pt>
                <c:pt idx="11">
                  <c:v>3079299.108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FCC-47A8-8FE9-0E68D3DD15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26546800"/>
        <c:axId val="1568304848"/>
        <c:extLst>
          <c:ext xmlns:c15="http://schemas.microsoft.com/office/drawing/2012/chart" uri="{02D57815-91ED-43cb-92C2-25804820EDAC}">
            <c15:filteredLineSeries>
              <c15:ser>
                <c:idx val="4"/>
                <c:order val="0"/>
                <c:tx>
                  <c:v>Surjek 001 Private Water Hedge Sales</c:v>
                </c:tx>
                <c:spPr>
                  <a:ln w="28575" cap="rnd">
                    <a:solidFill>
                      <a:schemeClr val="accent6">
                        <a:lumMod val="75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Revenue Analysis'!$E$37:$P$37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7220021.2387499996</c:v>
                      </c:pt>
                      <c:pt idx="1">
                        <c:v>6085131.0149999997</c:v>
                      </c:pt>
                      <c:pt idx="2">
                        <c:v>6723291.7162500005</c:v>
                      </c:pt>
                      <c:pt idx="3">
                        <c:v>6313180.5299999993</c:v>
                      </c:pt>
                      <c:pt idx="4">
                        <c:v>5763708.6674999995</c:v>
                      </c:pt>
                      <c:pt idx="5">
                        <c:v>6484566.5099999998</c:v>
                      </c:pt>
                      <c:pt idx="6">
                        <c:v>9314190.6750000007</c:v>
                      </c:pt>
                      <c:pt idx="7">
                        <c:v>6750396.1374999993</c:v>
                      </c:pt>
                      <c:pt idx="8">
                        <c:v>8185283.6587499995</c:v>
                      </c:pt>
                      <c:pt idx="9">
                        <c:v>6778514.602500001</c:v>
                      </c:pt>
                      <c:pt idx="10">
                        <c:v>6094707.7050000001</c:v>
                      </c:pt>
                      <c:pt idx="11">
                        <c:v>6735069.6974999998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0FCC-47A8-8FE9-0E68D3DD1535}"/>
                  </c:ext>
                </c:extLst>
              </c15:ser>
            </c15:filteredLineSeries>
            <c15:filteredLineSeries>
              <c15:ser>
                <c:idx val="5"/>
                <c:order val="1"/>
                <c:tx>
                  <c:v>Surjek 002 Public Sales</c:v>
                </c:tx>
                <c:spPr>
                  <a:ln w="28575" cap="rnd">
                    <a:solidFill>
                      <a:schemeClr val="accent6">
                        <a:lumMod val="75000"/>
                      </a:schemeClr>
                    </a:solidFill>
                    <a:prstDash val="dash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8:$P$38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5968550.8906999994</c:v>
                      </c:pt>
                      <c:pt idx="1">
                        <c:v>5030374.9724000003</c:v>
                      </c:pt>
                      <c:pt idx="2">
                        <c:v>5557921.1521000005</c:v>
                      </c:pt>
                      <c:pt idx="3">
                        <c:v>5218895.9047999997</c:v>
                      </c:pt>
                      <c:pt idx="4">
                        <c:v>4764665.8318000007</c:v>
                      </c:pt>
                      <c:pt idx="5">
                        <c:v>5360574.9815999996</c:v>
                      </c:pt>
                      <c:pt idx="6">
                        <c:v>7699730.9580000006</c:v>
                      </c:pt>
                      <c:pt idx="7">
                        <c:v>6985660.807</c:v>
                      </c:pt>
                      <c:pt idx="8">
                        <c:v>6766501.1579</c:v>
                      </c:pt>
                      <c:pt idx="9">
                        <c:v>6603572.0713999998</c:v>
                      </c:pt>
                      <c:pt idx="10">
                        <c:v>5038291.7028000001</c:v>
                      </c:pt>
                      <c:pt idx="11">
                        <c:v>5567657.616600000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0FCC-47A8-8FE9-0E68D3DD1535}"/>
                  </c:ext>
                </c:extLst>
              </c15:ser>
            </c15:filteredLineSeries>
            <c15:filteredLineSeries>
              <c15:ser>
                <c:idx val="6"/>
                <c:order val="2"/>
                <c:tx>
                  <c:v>Surjek 003 Residential Sales</c:v>
                </c:tx>
                <c:spPr>
                  <a:ln w="28575" cap="rnd">
                    <a:solidFill>
                      <a:schemeClr val="accent6">
                        <a:lumMod val="75000"/>
                      </a:schemeClr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9:$P$39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4139478.8435499985</c:v>
                      </c:pt>
                      <c:pt idx="1">
                        <c:v>3488808.4485999988</c:v>
                      </c:pt>
                      <c:pt idx="2">
                        <c:v>3854687.2506499989</c:v>
                      </c:pt>
                      <c:pt idx="3">
                        <c:v>3619556.8371999986</c:v>
                      </c:pt>
                      <c:pt idx="4">
                        <c:v>3304526.302699999</c:v>
                      </c:pt>
                      <c:pt idx="5">
                        <c:v>3717818.1323999991</c:v>
                      </c:pt>
                      <c:pt idx="6">
                        <c:v>5340135.9869999988</c:v>
                      </c:pt>
                      <c:pt idx="7">
                        <c:v>4844893.7854999984</c:v>
                      </c:pt>
                      <c:pt idx="8">
                        <c:v>4692895.9643499991</c:v>
                      </c:pt>
                      <c:pt idx="9">
                        <c:v>4886348.3721000003</c:v>
                      </c:pt>
                      <c:pt idx="10">
                        <c:v>3494299.084199999</c:v>
                      </c:pt>
                      <c:pt idx="11">
                        <c:v>3861439.959899998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0FCC-47A8-8FE9-0E68D3DD1535}"/>
                  </c:ext>
                </c:extLst>
              </c15:ser>
            </c15:filteredLineSeries>
            <c15:filteredLineSeries>
              <c15:ser>
                <c:idx val="1"/>
                <c:order val="6"/>
                <c:tx>
                  <c:v>Kootha 001 Private Water Hedge Sales</c:v>
                </c:tx>
                <c:spPr>
                  <a:ln w="28575" cap="rnd">
                    <a:solidFill>
                      <a:srgbClr val="C0000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4:$P$34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3094536.9986999994</c:v>
                      </c:pt>
                      <c:pt idx="1">
                        <c:v>2980521.8105250001</c:v>
                      </c:pt>
                      <c:pt idx="2">
                        <c:v>2752413.7409999999</c:v>
                      </c:pt>
                      <c:pt idx="3">
                        <c:v>2732151.9371999996</c:v>
                      </c:pt>
                      <c:pt idx="4">
                        <c:v>2885028.0122999996</c:v>
                      </c:pt>
                      <c:pt idx="5">
                        <c:v>2815308.3782250006</c:v>
                      </c:pt>
                      <c:pt idx="6">
                        <c:v>4092821.3597249994</c:v>
                      </c:pt>
                      <c:pt idx="7">
                        <c:v>3622839.5636999998</c:v>
                      </c:pt>
                      <c:pt idx="8">
                        <c:v>3818238.1009499999</c:v>
                      </c:pt>
                      <c:pt idx="9">
                        <c:v>2789853.534825</c:v>
                      </c:pt>
                      <c:pt idx="10">
                        <c:v>2822646.2911499999</c:v>
                      </c:pt>
                      <c:pt idx="11">
                        <c:v>2712379.1803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0FCC-47A8-8FE9-0E68D3DD1535}"/>
                  </c:ext>
                </c:extLst>
              </c15:ser>
            </c15:filteredLineSeries>
            <c15:filteredLineSeries>
              <c15:ser>
                <c:idx val="2"/>
                <c:order val="7"/>
                <c:tx>
                  <c:v>Kootha 002 Public Sales</c:v>
                </c:tx>
                <c:spPr>
                  <a:ln w="28575" cap="rnd">
                    <a:solidFill>
                      <a:srgbClr val="C00000"/>
                    </a:solidFill>
                    <a:prstDash val="dash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5:$P$35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1523285.8376100748</c:v>
                      </c:pt>
                      <c:pt idx="1">
                        <c:v>1467161.8612309312</c:v>
                      </c:pt>
                      <c:pt idx="2">
                        <c:v>1354875.66400725</c:v>
                      </c:pt>
                      <c:pt idx="3">
                        <c:v>1344901.7910867</c:v>
                      </c:pt>
                      <c:pt idx="4">
                        <c:v>1420155.039054675</c:v>
                      </c:pt>
                      <c:pt idx="5">
                        <c:v>1385835.5491812564</c:v>
                      </c:pt>
                      <c:pt idx="6">
                        <c:v>2014691.3143246307</c:v>
                      </c:pt>
                      <c:pt idx="7">
                        <c:v>1783342.7752313251</c:v>
                      </c:pt>
                      <c:pt idx="8">
                        <c:v>1879527.7051926372</c:v>
                      </c:pt>
                      <c:pt idx="9">
                        <c:v>1373305.4025176065</c:v>
                      </c:pt>
                      <c:pt idx="10">
                        <c:v>1389447.6368185873</c:v>
                      </c:pt>
                      <c:pt idx="11">
                        <c:v>1335168.651527287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0FCC-47A8-8FE9-0E68D3DD1535}"/>
                  </c:ext>
                </c:extLst>
              </c15:ser>
            </c15:filteredLineSeries>
            <c15:filteredLineSeries>
              <c15:ser>
                <c:idx val="3"/>
                <c:order val="8"/>
                <c:tx>
                  <c:v>Kootha 003 Residential Sales</c:v>
                </c:tx>
                <c:spPr>
                  <a:ln w="28575" cap="rnd">
                    <a:solidFill>
                      <a:srgbClr val="FF0000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6:$P$36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12"/>
                      <c:pt idx="0">
                        <c:v>1296758.36136</c:v>
                      </c:pt>
                      <c:pt idx="1">
                        <c:v>1248980.56822</c:v>
                      </c:pt>
                      <c:pt idx="2">
                        <c:v>1153392.4247999999</c:v>
                      </c:pt>
                      <c:pt idx="3">
                        <c:v>1144901.76416</c:v>
                      </c:pt>
                      <c:pt idx="4">
                        <c:v>1208964.11944</c:v>
                      </c:pt>
                      <c:pt idx="5">
                        <c:v>1179748.2727800002</c:v>
                      </c:pt>
                      <c:pt idx="6">
                        <c:v>1715087.0459799999</c:v>
                      </c:pt>
                      <c:pt idx="7">
                        <c:v>1518142.2933600002</c:v>
                      </c:pt>
                      <c:pt idx="8">
                        <c:v>1600023.58516</c:v>
                      </c:pt>
                      <c:pt idx="9">
                        <c:v>1169081.4812600003</c:v>
                      </c:pt>
                      <c:pt idx="10">
                        <c:v>1182823.2077200001</c:v>
                      </c:pt>
                      <c:pt idx="11">
                        <c:v>1136616.037480000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0FCC-47A8-8FE9-0E68D3DD1535}"/>
                  </c:ext>
                </c:extLst>
              </c15:ser>
            </c15:filteredLineSeries>
          </c:ext>
        </c:extLst>
      </c:lineChart>
      <c:dateAx>
        <c:axId val="32654680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68304848"/>
        <c:crosses val="autoZero"/>
        <c:auto val="1"/>
        <c:lblOffset val="100"/>
        <c:baseTimeUnit val="months"/>
      </c:dateAx>
      <c:valAx>
        <c:axId val="1568304848"/>
        <c:scaling>
          <c:orientation val="minMax"/>
          <c:max val="10000000"/>
          <c:min val="0"/>
        </c:scaling>
        <c:delete val="0"/>
        <c:axPos val="l"/>
        <c:numFmt formatCode="_(&quot;$&quot;* #,##0.00_);_(&quot;$&quot;* \(#,##0.00\);_(&quot;$&quot;* &quot;-&quot;??_);_(@_)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65468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6">
          <a:lumMod val="20000"/>
          <a:lumOff val="8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Kootha</a:t>
            </a:r>
            <a:r>
              <a:rPr lang="en-US" dirty="0"/>
              <a:t> Revenues (Jul</a:t>
            </a:r>
            <a:r>
              <a:rPr lang="en-US" baseline="0" dirty="0"/>
              <a:t> 13- Jun14)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6068079842683479E-2"/>
          <c:y val="0.34179742245049316"/>
          <c:w val="0.66133708535857427"/>
          <c:h val="0.53439891049310217"/>
        </c:manualLayout>
      </c:layout>
      <c:lineChart>
        <c:grouping val="standard"/>
        <c:varyColors val="0"/>
        <c:ser>
          <c:idx val="1"/>
          <c:order val="6"/>
          <c:tx>
            <c:v>Kootha 001 Private Water Hedge Sales</c:v>
          </c:tx>
          <c:spPr>
            <a:ln w="28575" cap="rnd">
              <a:solidFill>
                <a:schemeClr val="accent4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Revenue Analysis'!$E$34:$P$34</c:f>
              <c:numCache>
                <c:formatCode>"$"#,##0.00;[Red]\-"$"#,##0.00</c:formatCode>
                <c:ptCount val="12"/>
                <c:pt idx="0">
                  <c:v>3094536.9986999994</c:v>
                </c:pt>
                <c:pt idx="1">
                  <c:v>2980521.8105250001</c:v>
                </c:pt>
                <c:pt idx="2">
                  <c:v>2752413.7409999999</c:v>
                </c:pt>
                <c:pt idx="3">
                  <c:v>2732151.9371999996</c:v>
                </c:pt>
                <c:pt idx="4">
                  <c:v>2885028.0122999996</c:v>
                </c:pt>
                <c:pt idx="5">
                  <c:v>2815308.3782250006</c:v>
                </c:pt>
                <c:pt idx="6">
                  <c:v>4092821.3597249994</c:v>
                </c:pt>
                <c:pt idx="7">
                  <c:v>3622839.5636999998</c:v>
                </c:pt>
                <c:pt idx="8">
                  <c:v>3818238.1009499999</c:v>
                </c:pt>
                <c:pt idx="9">
                  <c:v>2789853.534825</c:v>
                </c:pt>
                <c:pt idx="10">
                  <c:v>2822646.2911499999</c:v>
                </c:pt>
                <c:pt idx="11">
                  <c:v>2712379.18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104-45F0-86D6-69541C3922AE}"/>
            </c:ext>
          </c:extLst>
        </c:ser>
        <c:ser>
          <c:idx val="2"/>
          <c:order val="7"/>
          <c:tx>
            <c:v>Kootha 002 Public Sales</c:v>
          </c:tx>
          <c:spPr>
            <a:ln w="28575" cap="rnd">
              <a:solidFill>
                <a:schemeClr val="accent6">
                  <a:lumMod val="50000"/>
                </a:schemeClr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Revenue Analysis'!$E$35:$P$35</c:f>
              <c:numCache>
                <c:formatCode>"$"#,##0.00;[Red]\-"$"#,##0.00</c:formatCode>
                <c:ptCount val="12"/>
                <c:pt idx="0">
                  <c:v>1523285.8376100748</c:v>
                </c:pt>
                <c:pt idx="1">
                  <c:v>1467161.8612309312</c:v>
                </c:pt>
                <c:pt idx="2">
                  <c:v>1354875.66400725</c:v>
                </c:pt>
                <c:pt idx="3">
                  <c:v>1344901.7910867</c:v>
                </c:pt>
                <c:pt idx="4">
                  <c:v>1420155.039054675</c:v>
                </c:pt>
                <c:pt idx="5">
                  <c:v>1385835.5491812564</c:v>
                </c:pt>
                <c:pt idx="6">
                  <c:v>2014691.3143246307</c:v>
                </c:pt>
                <c:pt idx="7">
                  <c:v>1783342.7752313251</c:v>
                </c:pt>
                <c:pt idx="8">
                  <c:v>1879527.7051926372</c:v>
                </c:pt>
                <c:pt idx="9">
                  <c:v>1373305.4025176065</c:v>
                </c:pt>
                <c:pt idx="10">
                  <c:v>1389447.6368185873</c:v>
                </c:pt>
                <c:pt idx="11">
                  <c:v>1335168.65152728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104-45F0-86D6-69541C3922AE}"/>
            </c:ext>
          </c:extLst>
        </c:ser>
        <c:ser>
          <c:idx val="3"/>
          <c:order val="8"/>
          <c:tx>
            <c:v>Kootha 003 Residential Sales</c:v>
          </c:tx>
          <c:spPr>
            <a:ln w="28575" cap="rnd">
              <a:solidFill>
                <a:schemeClr val="accent6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Revenue Analysis'!$E$36:$P$36</c:f>
              <c:numCache>
                <c:formatCode>_("$"* #,##0.00_);_("$"* \(#,##0.00\);_("$"* "-"??_);_(@_)</c:formatCode>
                <c:ptCount val="12"/>
                <c:pt idx="0">
                  <c:v>1296758.36136</c:v>
                </c:pt>
                <c:pt idx="1">
                  <c:v>1248980.56822</c:v>
                </c:pt>
                <c:pt idx="2">
                  <c:v>1153392.4247999999</c:v>
                </c:pt>
                <c:pt idx="3">
                  <c:v>1144901.76416</c:v>
                </c:pt>
                <c:pt idx="4">
                  <c:v>1208964.11944</c:v>
                </c:pt>
                <c:pt idx="5">
                  <c:v>1179748.2727800002</c:v>
                </c:pt>
                <c:pt idx="6">
                  <c:v>1715087.0459799999</c:v>
                </c:pt>
                <c:pt idx="7">
                  <c:v>1518142.2933600002</c:v>
                </c:pt>
                <c:pt idx="8">
                  <c:v>1600023.58516</c:v>
                </c:pt>
                <c:pt idx="9">
                  <c:v>1169081.4812600003</c:v>
                </c:pt>
                <c:pt idx="10">
                  <c:v>1182823.2077200001</c:v>
                </c:pt>
                <c:pt idx="11">
                  <c:v>1136616.03748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104-45F0-86D6-69541C3922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26546800"/>
        <c:axId val="1568304848"/>
        <c:extLst>
          <c:ext xmlns:c15="http://schemas.microsoft.com/office/drawing/2012/chart" uri="{02D57815-91ED-43cb-92C2-25804820EDAC}">
            <c15:filteredLineSeries>
              <c15:ser>
                <c:idx val="4"/>
                <c:order val="0"/>
                <c:tx>
                  <c:v>Surjek 001 Private Water Hedge Sales</c:v>
                </c:tx>
                <c:spPr>
                  <a:ln w="28575" cap="rnd">
                    <a:solidFill>
                      <a:schemeClr val="accent6">
                        <a:lumMod val="75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[Southern Water Corp Financial Case Study Gabriela Fernandez.xlsx]Revenue Analysis'!$E$37:$P$37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7220021.2387499996</c:v>
                      </c:pt>
                      <c:pt idx="1">
                        <c:v>6085131.0149999997</c:v>
                      </c:pt>
                      <c:pt idx="2">
                        <c:v>6723291.7162500005</c:v>
                      </c:pt>
                      <c:pt idx="3">
                        <c:v>6313180.5299999993</c:v>
                      </c:pt>
                      <c:pt idx="4">
                        <c:v>5763708.6674999995</c:v>
                      </c:pt>
                      <c:pt idx="5">
                        <c:v>6484566.5099999998</c:v>
                      </c:pt>
                      <c:pt idx="6">
                        <c:v>9314190.6750000007</c:v>
                      </c:pt>
                      <c:pt idx="7">
                        <c:v>6750396.1374999993</c:v>
                      </c:pt>
                      <c:pt idx="8">
                        <c:v>8185283.6587499995</c:v>
                      </c:pt>
                      <c:pt idx="9">
                        <c:v>6778514.602500001</c:v>
                      </c:pt>
                      <c:pt idx="10">
                        <c:v>6094707.7050000001</c:v>
                      </c:pt>
                      <c:pt idx="11">
                        <c:v>6735069.6974999998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9104-45F0-86D6-69541C3922AE}"/>
                  </c:ext>
                </c:extLst>
              </c15:ser>
            </c15:filteredLineSeries>
            <c15:filteredLineSeries>
              <c15:ser>
                <c:idx val="5"/>
                <c:order val="1"/>
                <c:tx>
                  <c:v>Surjek 002 Public Sales</c:v>
                </c:tx>
                <c:spPr>
                  <a:ln w="28575" cap="rnd">
                    <a:solidFill>
                      <a:schemeClr val="accent6">
                        <a:lumMod val="75000"/>
                      </a:schemeClr>
                    </a:solidFill>
                    <a:prstDash val="dash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8:$P$38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5968550.8906999994</c:v>
                      </c:pt>
                      <c:pt idx="1">
                        <c:v>5030374.9724000003</c:v>
                      </c:pt>
                      <c:pt idx="2">
                        <c:v>5557921.1521000005</c:v>
                      </c:pt>
                      <c:pt idx="3">
                        <c:v>5218895.9047999997</c:v>
                      </c:pt>
                      <c:pt idx="4">
                        <c:v>4764665.8318000007</c:v>
                      </c:pt>
                      <c:pt idx="5">
                        <c:v>5360574.9815999996</c:v>
                      </c:pt>
                      <c:pt idx="6">
                        <c:v>7699730.9580000006</c:v>
                      </c:pt>
                      <c:pt idx="7">
                        <c:v>6985660.807</c:v>
                      </c:pt>
                      <c:pt idx="8">
                        <c:v>6766501.1579</c:v>
                      </c:pt>
                      <c:pt idx="9">
                        <c:v>6603572.0713999998</c:v>
                      </c:pt>
                      <c:pt idx="10">
                        <c:v>5038291.7028000001</c:v>
                      </c:pt>
                      <c:pt idx="11">
                        <c:v>5567657.616600000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9104-45F0-86D6-69541C3922AE}"/>
                  </c:ext>
                </c:extLst>
              </c15:ser>
            </c15:filteredLineSeries>
            <c15:filteredLineSeries>
              <c15:ser>
                <c:idx val="6"/>
                <c:order val="2"/>
                <c:tx>
                  <c:v>Surjek 003 Residential Sales</c:v>
                </c:tx>
                <c:spPr>
                  <a:ln w="28575" cap="rnd">
                    <a:solidFill>
                      <a:schemeClr val="accent6">
                        <a:lumMod val="75000"/>
                      </a:schemeClr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9:$P$39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4139478.8435499985</c:v>
                      </c:pt>
                      <c:pt idx="1">
                        <c:v>3488808.4485999988</c:v>
                      </c:pt>
                      <c:pt idx="2">
                        <c:v>3854687.2506499989</c:v>
                      </c:pt>
                      <c:pt idx="3">
                        <c:v>3619556.8371999986</c:v>
                      </c:pt>
                      <c:pt idx="4">
                        <c:v>3304526.302699999</c:v>
                      </c:pt>
                      <c:pt idx="5">
                        <c:v>3717818.1323999991</c:v>
                      </c:pt>
                      <c:pt idx="6">
                        <c:v>5340135.9869999988</c:v>
                      </c:pt>
                      <c:pt idx="7">
                        <c:v>4844893.7854999984</c:v>
                      </c:pt>
                      <c:pt idx="8">
                        <c:v>4692895.9643499991</c:v>
                      </c:pt>
                      <c:pt idx="9">
                        <c:v>4886348.3721000003</c:v>
                      </c:pt>
                      <c:pt idx="10">
                        <c:v>3494299.084199999</c:v>
                      </c:pt>
                      <c:pt idx="11">
                        <c:v>3861439.959899998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9104-45F0-86D6-69541C3922AE}"/>
                  </c:ext>
                </c:extLst>
              </c15:ser>
            </c15:filteredLineSeries>
            <c15:filteredLineSeries>
              <c15:ser>
                <c:idx val="7"/>
                <c:order val="3"/>
                <c:tx>
                  <c:v>Jutik 001 Private Water Hedge Sale</c:v>
                </c:tx>
                <c:spPr>
                  <a:ln w="28575" cap="rnd">
                    <a:solidFill>
                      <a:schemeClr val="accent4">
                        <a:lumMod val="75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40:$P$40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12"/>
                      <c:pt idx="0">
                        <c:v>5298686.1637500003</c:v>
                      </c:pt>
                      <c:pt idx="1">
                        <c:v>5854268.2837499995</c:v>
                      </c:pt>
                      <c:pt idx="2">
                        <c:v>5098113.7162500005</c:v>
                      </c:pt>
                      <c:pt idx="3">
                        <c:v>4506567.6112500001</c:v>
                      </c:pt>
                      <c:pt idx="4">
                        <c:v>4950718.5187500007</c:v>
                      </c:pt>
                      <c:pt idx="5">
                        <c:v>4219638.2549999999</c:v>
                      </c:pt>
                      <c:pt idx="6">
                        <c:v>6454620.584999999</c:v>
                      </c:pt>
                      <c:pt idx="7">
                        <c:v>6573684.678749999</c:v>
                      </c:pt>
                      <c:pt idx="8">
                        <c:v>5896579.8487499999</c:v>
                      </c:pt>
                      <c:pt idx="9">
                        <c:v>6254734.0800000001</c:v>
                      </c:pt>
                      <c:pt idx="10">
                        <c:v>6161098.0612500003</c:v>
                      </c:pt>
                      <c:pt idx="11">
                        <c:v>6591800.771250000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9104-45F0-86D6-69541C3922AE}"/>
                  </c:ext>
                </c:extLst>
              </c15:ser>
            </c15:filteredLineSeries>
            <c15:filteredLineSeries>
              <c15:ser>
                <c:idx val="8"/>
                <c:order val="4"/>
                <c:tx>
                  <c:v>Jutik 002 Public Sales</c:v>
                </c:tx>
                <c:spPr>
                  <a:ln w="28575" cap="rnd">
                    <a:solidFill>
                      <a:schemeClr val="accent4">
                        <a:lumMod val="75000"/>
                      </a:schemeClr>
                    </a:solidFill>
                    <a:prstDash val="dash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41:$P$41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4380247.2286999999</c:v>
                      </c:pt>
                      <c:pt idx="1">
                        <c:v>3839528.4479</c:v>
                      </c:pt>
                      <c:pt idx="2">
                        <c:v>5214440.6721000001</c:v>
                      </c:pt>
                      <c:pt idx="3">
                        <c:v>4725429.2253</c:v>
                      </c:pt>
                      <c:pt idx="4">
                        <c:v>4092593.9755000006</c:v>
                      </c:pt>
                      <c:pt idx="5">
                        <c:v>4488234.2907999996</c:v>
                      </c:pt>
                      <c:pt idx="6">
                        <c:v>5335819.6836000001</c:v>
                      </c:pt>
                      <c:pt idx="7">
                        <c:v>5434246.0011</c:v>
                      </c:pt>
                      <c:pt idx="8">
                        <c:v>4874506.0082999999</c:v>
                      </c:pt>
                      <c:pt idx="9">
                        <c:v>5170580.1728000008</c:v>
                      </c:pt>
                      <c:pt idx="10">
                        <c:v>5093174.3973000003</c:v>
                      </c:pt>
                      <c:pt idx="11">
                        <c:v>5449221.970900000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9104-45F0-86D6-69541C3922AE}"/>
                  </c:ext>
                </c:extLst>
              </c15:ser>
            </c15:filteredLineSeries>
            <c15:filteredLineSeries>
              <c15:ser>
                <c:idx val="9"/>
                <c:order val="5"/>
                <c:tx>
                  <c:v>Jutik 003 Residential Sales</c:v>
                </c:tx>
                <c:spPr>
                  <a:ln w="28575" cap="rnd">
                    <a:solidFill>
                      <a:schemeClr val="accent4">
                        <a:lumMod val="75000"/>
                      </a:schemeClr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Southern Water Corp Financial Case Study Gabriela Fernandez.xlsx]Revenue Analysis'!$E$42:$P$42</c15:sqref>
                        </c15:formulaRef>
                      </c:ext>
                    </c:extLst>
                    <c:numCache>
                      <c:formatCode>_("$"* #,##0.00_);_("$"* \(#,##0.00\);_("$"* "-"??_);_(@_)</c:formatCode>
                      <c:ptCount val="12"/>
                      <c:pt idx="0">
                        <c:v>3037913.400549999</c:v>
                      </c:pt>
                      <c:pt idx="1">
                        <c:v>3356447.1493499991</c:v>
                      </c:pt>
                      <c:pt idx="2">
                        <c:v>2922918.5306499992</c:v>
                      </c:pt>
                      <c:pt idx="3">
                        <c:v>2583765.4304499994</c:v>
                      </c:pt>
                      <c:pt idx="4">
                        <c:v>2838411.9507499994</c:v>
                      </c:pt>
                      <c:pt idx="5">
                        <c:v>2419259.2661999995</c:v>
                      </c:pt>
                      <c:pt idx="6">
                        <c:v>3700649.1353999986</c:v>
                      </c:pt>
                      <c:pt idx="7">
                        <c:v>3768912.5491499985</c:v>
                      </c:pt>
                      <c:pt idx="8">
                        <c:v>3380705.7799499989</c:v>
                      </c:pt>
                      <c:pt idx="9">
                        <c:v>3586047.5391999991</c:v>
                      </c:pt>
                      <c:pt idx="10">
                        <c:v>3032362.88845</c:v>
                      </c:pt>
                      <c:pt idx="11">
                        <c:v>3079299.1088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9104-45F0-86D6-69541C3922AE}"/>
                  </c:ext>
                </c:extLst>
              </c15:ser>
            </c15:filteredLineSeries>
          </c:ext>
        </c:extLst>
      </c:lineChart>
      <c:dateAx>
        <c:axId val="32654680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68304848"/>
        <c:crosses val="autoZero"/>
        <c:auto val="1"/>
        <c:lblOffset val="100"/>
        <c:baseTimeUnit val="months"/>
      </c:dateAx>
      <c:valAx>
        <c:axId val="1568304848"/>
        <c:scaling>
          <c:orientation val="minMax"/>
          <c:max val="10000000"/>
        </c:scaling>
        <c:delete val="0"/>
        <c:axPos val="l"/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65468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6">
          <a:lumMod val="20000"/>
          <a:lumOff val="8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Aggregate</a:t>
            </a:r>
            <a:r>
              <a:rPr lang="en-US" baseline="0" dirty="0"/>
              <a:t> Cost for all Units by Centre Elements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8"/>
          <c:order val="0"/>
          <c:tx>
            <c:strRef>
              <c:f>'[Southern Water Corp Financial Case Study Gabriela Fernandez.xlsx]Expenses Analysis'!$D$56</c:f>
              <c:strCache>
                <c:ptCount val="1"/>
                <c:pt idx="0">
                  <c:v>Labour-Costs (001)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E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[Southern Water Corp Financial Case Study Gabriela Fernandez.xlsx]Expenses Analysis'!$E$56:$Q$56</c:f>
              <c:numCache>
                <c:formatCode>General</c:formatCode>
                <c:ptCount val="12"/>
                <c:pt idx="0">
                  <c:v>7367588.6791624967</c:v>
                </c:pt>
                <c:pt idx="1">
                  <c:v>7849336.0209874995</c:v>
                </c:pt>
                <c:pt idx="2">
                  <c:v>8389760.6297374964</c:v>
                </c:pt>
                <c:pt idx="3">
                  <c:v>9137407.9125625007</c:v>
                </c:pt>
                <c:pt idx="4">
                  <c:v>9187415.9798249993</c:v>
                </c:pt>
                <c:pt idx="5">
                  <c:v>5779740.0739000011</c:v>
                </c:pt>
                <c:pt idx="6">
                  <c:v>6008311.4579999996</c:v>
                </c:pt>
                <c:pt idx="7">
                  <c:v>6995040.989875</c:v>
                </c:pt>
                <c:pt idx="8">
                  <c:v>6352457.05155</c:v>
                </c:pt>
                <c:pt idx="9">
                  <c:v>6560328.9663875001</c:v>
                </c:pt>
                <c:pt idx="10">
                  <c:v>7526766.7026125006</c:v>
                </c:pt>
                <c:pt idx="11">
                  <c:v>6174477.1062125005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0-7A70-402A-9DF9-F8E97D7A420D}"/>
            </c:ext>
          </c:extLst>
        </c:ser>
        <c:ser>
          <c:idx val="1"/>
          <c:order val="1"/>
          <c:tx>
            <c:strRef>
              <c:f>'[Southern Water Corp Financial Case Study Gabriela Fernandez.xlsx]Expenses Analysis'!$D$49</c:f>
              <c:strCache>
                <c:ptCount val="1"/>
                <c:pt idx="0">
                  <c:v>Chem-Exp (001)</c:v>
                </c:pt>
              </c:strCache>
            </c:strRef>
          </c:tx>
          <c:spPr>
            <a:ln w="28575" cap="rnd">
              <a:solidFill>
                <a:srgbClr val="F07F0E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E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[Southern Water Corp Financial Case Study Gabriela Fernandez.xlsx]Expenses Analysis'!$E$49:$Q$49</c:f>
              <c:numCache>
                <c:formatCode>General</c:formatCode>
                <c:ptCount val="12"/>
                <c:pt idx="0">
                  <c:v>4752382.6895514736</c:v>
                </c:pt>
                <c:pt idx="1">
                  <c:v>5167035.0438473243</c:v>
                </c:pt>
                <c:pt idx="2">
                  <c:v>5477119.2220016234</c:v>
                </c:pt>
                <c:pt idx="3">
                  <c:v>6217372.1257881755</c:v>
                </c:pt>
                <c:pt idx="4">
                  <c:v>6351549.5562056992</c:v>
                </c:pt>
                <c:pt idx="5">
                  <c:v>5473893.9778650012</c:v>
                </c:pt>
                <c:pt idx="6">
                  <c:v>7073236.3159125</c:v>
                </c:pt>
                <c:pt idx="7">
                  <c:v>7645099.2339562494</c:v>
                </c:pt>
                <c:pt idx="8">
                  <c:v>7576081.9643531246</c:v>
                </c:pt>
                <c:pt idx="9">
                  <c:v>7870566.9194312505</c:v>
                </c:pt>
                <c:pt idx="10">
                  <c:v>9096355.030431252</c:v>
                </c:pt>
                <c:pt idx="11">
                  <c:v>5712658.1783212498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7A70-402A-9DF9-F8E97D7A420D}"/>
            </c:ext>
          </c:extLst>
        </c:ser>
        <c:ser>
          <c:idx val="2"/>
          <c:order val="2"/>
          <c:tx>
            <c:strRef>
              <c:f>'[Southern Water Corp Financial Case Study Gabriela Fernandez.xlsx]Expenses Analysis'!$D$50</c:f>
              <c:strCache>
                <c:ptCount val="1"/>
                <c:pt idx="0">
                  <c:v>Utility-Exp (002) - Heating</c:v>
                </c:pt>
              </c:strCache>
            </c:strRef>
          </c:tx>
          <c:spPr>
            <a:ln w="28575" cap="rnd">
              <a:solidFill>
                <a:schemeClr val="accent4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E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[Southern Water Corp Financial Case Study Gabriela Fernandez.xlsx]Expenses Analysis'!$E$50:$Q$50</c:f>
              <c:numCache>
                <c:formatCode>General</c:formatCode>
                <c:ptCount val="12"/>
                <c:pt idx="0">
                  <c:v>2439061.3979192991</c:v>
                </c:pt>
                <c:pt idx="1">
                  <c:v>2621863.5100085996</c:v>
                </c:pt>
                <c:pt idx="2">
                  <c:v>2806168.0509719998</c:v>
                </c:pt>
                <c:pt idx="3">
                  <c:v>3163209.5663784007</c:v>
                </c:pt>
                <c:pt idx="4">
                  <c:v>3218501.5770913498</c:v>
                </c:pt>
                <c:pt idx="5">
                  <c:v>2788369.1117025004</c:v>
                </c:pt>
                <c:pt idx="6">
                  <c:v>3593667.2656375002</c:v>
                </c:pt>
                <c:pt idx="7">
                  <c:v>3722191.4510812499</c:v>
                </c:pt>
                <c:pt idx="8">
                  <c:v>3871145.1659843749</c:v>
                </c:pt>
                <c:pt idx="9">
                  <c:v>3465642.2342250003</c:v>
                </c:pt>
                <c:pt idx="10">
                  <c:v>4094860.7397625004</c:v>
                </c:pt>
                <c:pt idx="11">
                  <c:v>2932911.3268075003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2-7A70-402A-9DF9-F8E97D7A420D}"/>
            </c:ext>
          </c:extLst>
        </c:ser>
        <c:ser>
          <c:idx val="3"/>
          <c:order val="3"/>
          <c:tx>
            <c:strRef>
              <c:f>'[Southern Water Corp Financial Case Study Gabriela Fernandez.xlsx]Expenses Analysis'!$D$51</c:f>
              <c:strCache>
                <c:ptCount val="1"/>
                <c:pt idx="0">
                  <c:v>Utility-Exp (002) - Electricity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E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[Southern Water Corp Financial Case Study Gabriela Fernandez.xlsx]Expenses Analysis'!$E$51:$Q$51</c:f>
              <c:numCache>
                <c:formatCode>General</c:formatCode>
                <c:ptCount val="12"/>
                <c:pt idx="0">
                  <c:v>2300028.0101369992</c:v>
                </c:pt>
                <c:pt idx="1">
                  <c:v>2505939.5584575003</c:v>
                </c:pt>
                <c:pt idx="2">
                  <c:v>2627415.3951704986</c:v>
                </c:pt>
                <c:pt idx="3">
                  <c:v>2900613.3153855</c:v>
                </c:pt>
                <c:pt idx="4">
                  <c:v>2940556.1633002497</c:v>
                </c:pt>
                <c:pt idx="5">
                  <c:v>2582565.0096375002</c:v>
                </c:pt>
                <c:pt idx="6">
                  <c:v>3446732.8680624999</c:v>
                </c:pt>
                <c:pt idx="7">
                  <c:v>3483983.4045937499</c:v>
                </c:pt>
                <c:pt idx="8">
                  <c:v>3640816.4610781251</c:v>
                </c:pt>
                <c:pt idx="9">
                  <c:v>3250872.5897500003</c:v>
                </c:pt>
                <c:pt idx="10">
                  <c:v>3812121.7015625001</c:v>
                </c:pt>
                <c:pt idx="11">
                  <c:v>2923183.2132374998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3-7A70-402A-9DF9-F8E97D7A420D}"/>
            </c:ext>
          </c:extLst>
        </c:ser>
        <c:ser>
          <c:idx val="4"/>
          <c:order val="4"/>
          <c:tx>
            <c:strRef>
              <c:f>'[Southern Water Corp Financial Case Study Gabriela Fernandez.xlsx]Expenses Analysis'!$D$52</c:f>
              <c:strCache>
                <c:ptCount val="1"/>
                <c:pt idx="0">
                  <c:v>Plant Maintenance (001)</c:v>
                </c:pt>
              </c:strCache>
            </c:strRef>
          </c:tx>
          <c:spPr>
            <a:ln w="28575" cap="rnd">
              <a:solidFill>
                <a:schemeClr val="accent6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E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[Southern Water Corp Financial Case Study Gabriela Fernandez.xlsx]Expenses Analysis'!$E$52:$Q$52</c:f>
              <c:numCache>
                <c:formatCode>General</c:formatCode>
                <c:ptCount val="12"/>
                <c:pt idx="0">
                  <c:v>2073604.724326327</c:v>
                </c:pt>
                <c:pt idx="1">
                  <c:v>2269539.7804914797</c:v>
                </c:pt>
                <c:pt idx="2">
                  <c:v>2374998.790312151</c:v>
                </c:pt>
                <c:pt idx="3">
                  <c:v>2645968.110327912</c:v>
                </c:pt>
                <c:pt idx="4">
                  <c:v>2691801.6955241356</c:v>
                </c:pt>
                <c:pt idx="5">
                  <c:v>2348808.3419548003</c:v>
                </c:pt>
                <c:pt idx="6">
                  <c:v>2879996.1652659997</c:v>
                </c:pt>
                <c:pt idx="7">
                  <c:v>2972957.9397390001</c:v>
                </c:pt>
                <c:pt idx="8">
                  <c:v>3094867.6019314998</c:v>
                </c:pt>
                <c:pt idx="9">
                  <c:v>2768358.2978389999</c:v>
                </c:pt>
                <c:pt idx="10">
                  <c:v>3268026.2100749998</c:v>
                </c:pt>
                <c:pt idx="11">
                  <c:v>2363869.6207261998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4-7A70-402A-9DF9-F8E97D7A420D}"/>
            </c:ext>
          </c:extLst>
        </c:ser>
        <c:ser>
          <c:idx val="6"/>
          <c:order val="5"/>
          <c:tx>
            <c:strRef>
              <c:f>'[Southern Water Corp Financial Case Study Gabriela Fernandez.xlsx]Expenses Analysis'!$D$54</c:f>
              <c:strCache>
                <c:ptCount val="1"/>
                <c:pt idx="0">
                  <c:v>Plant Op. Costs (003)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E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[Southern Water Corp Financial Case Study Gabriela Fernandez.xlsx]Expenses Analysis'!$E$54:$Q$54</c:f>
              <c:numCache>
                <c:formatCode>General</c:formatCode>
                <c:ptCount val="12"/>
                <c:pt idx="0">
                  <c:v>1800236.6472906992</c:v>
                </c:pt>
                <c:pt idx="1">
                  <c:v>1959718.9384044998</c:v>
                </c:pt>
                <c:pt idx="2">
                  <c:v>2069515.5841112991</c:v>
                </c:pt>
                <c:pt idx="3">
                  <c:v>2330999.3359503001</c:v>
                </c:pt>
                <c:pt idx="4">
                  <c:v>2376535.9434183999</c:v>
                </c:pt>
                <c:pt idx="5">
                  <c:v>1447049.2500542002</c:v>
                </c:pt>
                <c:pt idx="6">
                  <c:v>1483562.2037511999</c:v>
                </c:pt>
                <c:pt idx="7">
                  <c:v>1516247.7055998</c:v>
                </c:pt>
                <c:pt idx="8">
                  <c:v>1567231.2198758</c:v>
                </c:pt>
                <c:pt idx="9">
                  <c:v>1421177.7427773001</c:v>
                </c:pt>
                <c:pt idx="10">
                  <c:v>1665801.7318074999</c:v>
                </c:pt>
                <c:pt idx="11">
                  <c:v>1452590.2533372999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5-7A70-402A-9DF9-F8E97D7A420D}"/>
            </c:ext>
          </c:extLst>
        </c:ser>
        <c:ser>
          <c:idx val="5"/>
          <c:order val="6"/>
          <c:tx>
            <c:strRef>
              <c:f>'[Southern Water Corp Financial Case Study Gabriela Fernandez.xlsx]Expenses Analysis'!$D$53</c:f>
              <c:strCache>
                <c:ptCount val="1"/>
                <c:pt idx="0">
                  <c:v>Plant Outages (002)</c:v>
                </c:pt>
              </c:strCache>
            </c:strRef>
          </c:tx>
          <c:spPr>
            <a:ln w="28575" cap="rnd">
              <a:solidFill>
                <a:schemeClr val="accent5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E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[Southern Water Corp Financial Case Study Gabriela Fernandez.xlsx]Expenses Analysis'!$E$53:$Q$53</c:f>
              <c:numCache>
                <c:formatCode>General</c:formatCode>
                <c:ptCount val="12"/>
                <c:pt idx="0">
                  <c:v>1347738.8706587995</c:v>
                </c:pt>
                <c:pt idx="1">
                  <c:v>1561170.3574350001</c:v>
                </c:pt>
                <c:pt idx="2">
                  <c:v>1574874.1415601994</c:v>
                </c:pt>
                <c:pt idx="3">
                  <c:v>1880373.5227742002</c:v>
                </c:pt>
                <c:pt idx="4">
                  <c:v>1968683.2157081</c:v>
                </c:pt>
                <c:pt idx="5">
                  <c:v>1158623.1401823002</c:v>
                </c:pt>
                <c:pt idx="6">
                  <c:v>1176136.1610068001</c:v>
                </c:pt>
                <c:pt idx="7">
                  <c:v>1239117.5758722001</c:v>
                </c:pt>
                <c:pt idx="8">
                  <c:v>1215602.9551357001</c:v>
                </c:pt>
                <c:pt idx="9">
                  <c:v>1190750.2535102002</c:v>
                </c:pt>
                <c:pt idx="10">
                  <c:v>1381387.0449670001</c:v>
                </c:pt>
                <c:pt idx="11">
                  <c:v>1040665.7581107001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6-7A70-402A-9DF9-F8E97D7A420D}"/>
            </c:ext>
          </c:extLst>
        </c:ser>
        <c:ser>
          <c:idx val="7"/>
          <c:order val="7"/>
          <c:tx>
            <c:strRef>
              <c:f>'[Southern Water Corp Financial Case Study Gabriela Fernandez.xlsx]Expenses Analysis'!$D$55</c:f>
              <c:strCache>
                <c:ptCount val="1"/>
                <c:pt idx="0">
                  <c:v>Plant Admin Costs (004)</c:v>
                </c:pt>
              </c:strCache>
            </c:strRef>
          </c:tx>
          <c:spPr>
            <a:ln w="2857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E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  <c:extLst/>
            </c:numRef>
          </c:cat>
          <c:val>
            <c:numRef>
              <c:f>'[Southern Water Corp Financial Case Study Gabriela Fernandez.xlsx]Expenses Analysis'!$E$55:$Q$55</c:f>
              <c:numCache>
                <c:formatCode>General</c:formatCode>
                <c:ptCount val="12"/>
                <c:pt idx="0">
                  <c:v>886197.60176639946</c:v>
                </c:pt>
                <c:pt idx="1">
                  <c:v>1012646.749821</c:v>
                </c:pt>
                <c:pt idx="2">
                  <c:v>1025398.9493285995</c:v>
                </c:pt>
                <c:pt idx="3">
                  <c:v>1186610.9527146001</c:v>
                </c:pt>
                <c:pt idx="4">
                  <c:v>1229462.2582892999</c:v>
                </c:pt>
                <c:pt idx="5">
                  <c:v>749668.56593790022</c:v>
                </c:pt>
                <c:pt idx="6">
                  <c:v>774322.04976840003</c:v>
                </c:pt>
                <c:pt idx="7">
                  <c:v>795356.48947859998</c:v>
                </c:pt>
                <c:pt idx="8">
                  <c:v>795992.24834010005</c:v>
                </c:pt>
                <c:pt idx="9">
                  <c:v>759387.99960660015</c:v>
                </c:pt>
                <c:pt idx="10">
                  <c:v>879614.44655700005</c:v>
                </c:pt>
                <c:pt idx="11">
                  <c:v>718766.35225710005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7-7A70-402A-9DF9-F8E97D7A42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49635135"/>
        <c:axId val="571227231"/>
      </c:lineChart>
      <c:dateAx>
        <c:axId val="549635135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1227231"/>
        <c:crosses val="autoZero"/>
        <c:auto val="1"/>
        <c:lblOffset val="100"/>
        <c:baseTimeUnit val="months"/>
      </c:dateAx>
      <c:valAx>
        <c:axId val="57122723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963513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ggregate</a:t>
            </a:r>
            <a:r>
              <a:rPr lang="en-US" baseline="0"/>
              <a:t> Costs per Unit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8396091304186335E-2"/>
          <c:y val="0.13161434574956377"/>
          <c:w val="0.73335334532094054"/>
          <c:h val="0.79168283245244542"/>
        </c:manualLayout>
      </c:layout>
      <c:lineChart>
        <c:grouping val="standard"/>
        <c:varyColors val="0"/>
        <c:ser>
          <c:idx val="0"/>
          <c:order val="0"/>
          <c:tx>
            <c:v>Kootha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F$12:$Q$1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Expenses Analysis'!$F$23:$Q$23</c:f>
              <c:numCache>
                <c:formatCode>General</c:formatCode>
                <c:ptCount val="12"/>
                <c:pt idx="0">
                  <c:v>3458288.8701338647</c:v>
                </c:pt>
                <c:pt idx="1">
                  <c:v>4778353.3521016249</c:v>
                </c:pt>
                <c:pt idx="2">
                  <c:v>3741007.0627661142</c:v>
                </c:pt>
                <c:pt idx="3">
                  <c:v>3550828.7945508747</c:v>
                </c:pt>
                <c:pt idx="4">
                  <c:v>3646543.42684625</c:v>
                </c:pt>
                <c:pt idx="5">
                  <c:v>3507223.3581475001</c:v>
                </c:pt>
                <c:pt idx="6">
                  <c:v>5249820.3494999986</c:v>
                </c:pt>
                <c:pt idx="7">
                  <c:v>4419792.6823125007</c:v>
                </c:pt>
                <c:pt idx="8">
                  <c:v>4409725.4715</c:v>
                </c:pt>
                <c:pt idx="9">
                  <c:v>4419304.3184062503</c:v>
                </c:pt>
                <c:pt idx="10">
                  <c:v>4692799.18359375</c:v>
                </c:pt>
                <c:pt idx="11">
                  <c:v>5350137.22246874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1AD-4357-9AA9-BBBCE8E1F64D}"/>
            </c:ext>
          </c:extLst>
        </c:ser>
        <c:ser>
          <c:idx val="1"/>
          <c:order val="1"/>
          <c:tx>
            <c:v>Surjek</c:v>
          </c:tx>
          <c:spPr>
            <a:ln w="28575" cap="rnd">
              <a:solidFill>
                <a:schemeClr val="accent3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F$12:$Q$1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Expenses Analysis'!$F$33:$Q$33</c:f>
              <c:numCache>
                <c:formatCode>General</c:formatCode>
                <c:ptCount val="12"/>
                <c:pt idx="0">
                  <c:v>11339551.170386208</c:v>
                </c:pt>
                <c:pt idx="1">
                  <c:v>13660880.3343936</c:v>
                </c:pt>
                <c:pt idx="2">
                  <c:v>13806947.680280834</c:v>
                </c:pt>
                <c:pt idx="3">
                  <c:v>18511924.382331077</c:v>
                </c:pt>
                <c:pt idx="4">
                  <c:v>20025365.089240894</c:v>
                </c:pt>
                <c:pt idx="5">
                  <c:v>12958942.643539203</c:v>
                </c:pt>
                <c:pt idx="6">
                  <c:v>13987466.323076401</c:v>
                </c:pt>
                <c:pt idx="7">
                  <c:v>16468493.156715602</c:v>
                </c:pt>
                <c:pt idx="8">
                  <c:v>15013580.580213603</c:v>
                </c:pt>
                <c:pt idx="9">
                  <c:v>16135503.054039603</c:v>
                </c:pt>
                <c:pt idx="10">
                  <c:v>18921373.302216005</c:v>
                </c:pt>
                <c:pt idx="11">
                  <c:v>8489071.3235327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1AD-4357-9AA9-BBBCE8E1F64D}"/>
            </c:ext>
          </c:extLst>
        </c:ser>
        <c:ser>
          <c:idx val="2"/>
          <c:order val="2"/>
          <c:tx>
            <c:v>Jutik</c:v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Southern Water Corp Financial Case Study Gabriela Fernandez.xlsx]Expenses Analysis'!$F$12:$Q$1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[Southern Water Corp Financial Case Study Gabriela Fernandez.xlsx]Expenses Analysis'!$F$43:$Q$43</c:f>
              <c:numCache>
                <c:formatCode>"$"#,##0.00;[Red]\-"$"#,##0.00</c:formatCode>
                <c:ptCount val="12"/>
                <c:pt idx="0">
                  <c:v>8168998.5802924205</c:v>
                </c:pt>
                <c:pt idx="1">
                  <c:v>6508016.2729576789</c:v>
                </c:pt>
                <c:pt idx="2">
                  <c:v>8797296.0201469176</c:v>
                </c:pt>
                <c:pt idx="3">
                  <c:v>7399801.6649996387</c:v>
                </c:pt>
                <c:pt idx="4">
                  <c:v>6292597.87327509</c:v>
                </c:pt>
                <c:pt idx="5">
                  <c:v>5862551.4695474999</c:v>
                </c:pt>
                <c:pt idx="6">
                  <c:v>7198677.8148285002</c:v>
                </c:pt>
                <c:pt idx="7">
                  <c:v>7481708.9511677492</c:v>
                </c:pt>
                <c:pt idx="8">
                  <c:v>8690888.6165351253</c:v>
                </c:pt>
                <c:pt idx="9">
                  <c:v>6732277.631081</c:v>
                </c:pt>
                <c:pt idx="10">
                  <c:v>8110761.1219654996</c:v>
                </c:pt>
                <c:pt idx="11">
                  <c:v>9479913.26300850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1AD-4357-9AA9-BBBCE8E1F6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49635135"/>
        <c:axId val="571227231"/>
      </c:lineChart>
      <c:dateAx>
        <c:axId val="549635135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1227231"/>
        <c:crosses val="autoZero"/>
        <c:auto val="1"/>
        <c:lblOffset val="100"/>
        <c:baseTimeUnit val="months"/>
      </c:dateAx>
      <c:valAx>
        <c:axId val="57122723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963513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6220557830840482"/>
          <c:y val="0.17171296296296298"/>
          <c:w val="0.83779442169159513"/>
          <c:h val="0.46237651512268041"/>
        </c:manualLayout>
      </c:layout>
      <c:barChart>
        <c:barDir val="col"/>
        <c:grouping val="clustered"/>
        <c:varyColors val="0"/>
        <c:ser>
          <c:idx val="0"/>
          <c:order val="0"/>
          <c:tx>
            <c:v>Cost Element Total Cost- Kootha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Southern Water Corp Financial Case Study Gabriela Fernandez.xlsx]Expenses Analysis'!$D$15:$D$2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[Southern Water Corp Financial Case Study Gabriela Fernandez.xlsx]Expenses Analysis'!$R$15:$R$22</c:f>
              <c:numCache>
                <c:formatCode>"$"#,##0.00;[Red]\-"$"#,##0.00</c:formatCode>
                <c:ptCount val="8"/>
                <c:pt idx="0">
                  <c:v>10125517.983652497</c:v>
                </c:pt>
                <c:pt idx="1">
                  <c:v>4720521.2044999981</c:v>
                </c:pt>
                <c:pt idx="2">
                  <c:v>7080781.8067499967</c:v>
                </c:pt>
                <c:pt idx="3">
                  <c:v>4863981.2092249971</c:v>
                </c:pt>
                <c:pt idx="4">
                  <c:v>3054127.7360249986</c:v>
                </c:pt>
                <c:pt idx="5">
                  <c:v>3450033.1832874976</c:v>
                </c:pt>
                <c:pt idx="6">
                  <c:v>2375432.6835749988</c:v>
                </c:pt>
                <c:pt idx="7">
                  <c:v>15553428.2853124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5B3-44D8-A96E-1795EB98C5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49626015"/>
        <c:axId val="644255663"/>
      </c:barChart>
      <c:catAx>
        <c:axId val="5496260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vert="horz" wrap="square" anchor="t" anchorCtr="0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4255663"/>
        <c:crosses val="autoZero"/>
        <c:auto val="1"/>
        <c:lblAlgn val="ctr"/>
        <c:lblOffset val="100"/>
        <c:noMultiLvlLbl val="0"/>
      </c:catAx>
      <c:valAx>
        <c:axId val="644255663"/>
        <c:scaling>
          <c:orientation val="minMax"/>
          <c:max val="50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96260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6">
          <a:lumMod val="40000"/>
          <a:lumOff val="6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21338474249518041"/>
          <c:y val="1.31206886398598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9852885368122711"/>
          <c:y val="0.12574647592422511"/>
          <c:w val="0.67369328420838059"/>
          <c:h val="0.51007967112602448"/>
        </c:manualLayout>
      </c:layout>
      <c:barChart>
        <c:barDir val="col"/>
        <c:grouping val="clustered"/>
        <c:varyColors val="0"/>
        <c:ser>
          <c:idx val="0"/>
          <c:order val="0"/>
          <c:tx>
            <c:v>Cost Element Total Cost- Surjek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Southern Water Corp Financial Case Study Gabriela Fernandez.xlsx]Expenses Analysis'!$D$15:$D$2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[Southern Water Corp Financial Case Study Gabriela Fernandez.xlsx]Expenses Analysis'!$R$25:$R$32</c:f>
              <c:numCache>
                <c:formatCode>"$"#,##0.00;[Red]\-"$"#,##0.00</c:formatCode>
                <c:ptCount val="8"/>
                <c:pt idx="0">
                  <c:v>46326012.775156811</c:v>
                </c:pt>
                <c:pt idx="1">
                  <c:v>23163006.387578405</c:v>
                </c:pt>
                <c:pt idx="2">
                  <c:v>19302505.322982002</c:v>
                </c:pt>
                <c:pt idx="3">
                  <c:v>18221565.024895009</c:v>
                </c:pt>
                <c:pt idx="4">
                  <c:v>11461092.4195712</c:v>
                </c:pt>
                <c:pt idx="5">
                  <c:v>12135274.3266048</c:v>
                </c:pt>
                <c:pt idx="6">
                  <c:v>6573273.5935776001</c:v>
                </c:pt>
                <c:pt idx="7">
                  <c:v>42136369.1896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EA-48FB-BECF-88757531B4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49626015"/>
        <c:axId val="644255663"/>
      </c:barChart>
      <c:catAx>
        <c:axId val="5496260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vert="horz" wrap="square" anchor="b" anchorCtr="0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4255663"/>
        <c:crossesAt val="0"/>
        <c:auto val="0"/>
        <c:lblAlgn val="ctr"/>
        <c:lblOffset val="100"/>
        <c:noMultiLvlLbl val="0"/>
      </c:catAx>
      <c:valAx>
        <c:axId val="644255663"/>
        <c:scaling>
          <c:orientation val="minMax"/>
          <c:max val="50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96260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6">
          <a:lumMod val="40000"/>
          <a:lumOff val="60000"/>
        </a:schemeClr>
      </a:solidFill>
    </a:ln>
    <a:effectLst/>
  </c:spPr>
  <c:txPr>
    <a:bodyPr rot="-5400000" vert="horz" anchor="ctr" anchorCtr="0"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180894372574983"/>
          <c:y val="9.2921412010678203E-2"/>
          <c:w val="0.78191056274250181"/>
          <c:h val="0.49616993860275593"/>
        </c:manualLayout>
      </c:layout>
      <c:barChart>
        <c:barDir val="col"/>
        <c:grouping val="clustered"/>
        <c:varyColors val="0"/>
        <c:ser>
          <c:idx val="0"/>
          <c:order val="0"/>
          <c:tx>
            <c:v>Cost Element Total Cost- Jutik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Southern Water Corp Financial Case Study Gabriela Fernandez.xlsx]Expenses Analysis'!$D$15:$D$2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[Southern Water Corp Financial Case Study Gabriela Fernandez.xlsx]Expenses Analysis'!$R$35:$R$42</c:f>
              <c:numCache>
                <c:formatCode>"$"#,##0.00;[Red]\-"$"#,##0.00</c:formatCode>
                <c:ptCount val="8"/>
                <c:pt idx="0">
                  <c:v>21961819.498855624</c:v>
                </c:pt>
                <c:pt idx="1">
                  <c:v>10834063.805491872</c:v>
                </c:pt>
                <c:pt idx="2">
                  <c:v>10031540.560640626</c:v>
                </c:pt>
                <c:pt idx="3">
                  <c:v>8667251.0443934985</c:v>
                </c:pt>
                <c:pt idx="4">
                  <c:v>2219902.8413250004</c:v>
                </c:pt>
                <c:pt idx="5">
                  <c:v>5505359.0464859996</c:v>
                </c:pt>
                <c:pt idx="6">
                  <c:v>1864718.386713</c:v>
                </c:pt>
                <c:pt idx="7">
                  <c:v>29638834.0958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80-47C2-979C-47D00EB578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49626015"/>
        <c:axId val="644255663"/>
      </c:barChart>
      <c:catAx>
        <c:axId val="5496260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vert="horz" wrap="square" anchor="t" anchorCtr="0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4255663"/>
        <c:crossesAt val="0"/>
        <c:auto val="1"/>
        <c:lblAlgn val="ctr"/>
        <c:lblOffset val="100"/>
        <c:noMultiLvlLbl val="0"/>
      </c:catAx>
      <c:valAx>
        <c:axId val="644255663"/>
        <c:scaling>
          <c:orientation val="minMax"/>
          <c:max val="50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96260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21/02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51917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chart" Target="../charts/char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/>
              <a:t>Segmentation of the revenues by unit, reveals that of the three (3) customer segments, Private Water Hedge Sales (187.4M) are the most popular, followed by Public Sales ($146.9M) and lastly Residential Sales ($102.5M)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831476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DE78065E-36E7-4A29-B510-7B2C415DA252}"/>
              </a:ext>
              <a:ext uri="{147F2762-F138-4A5C-976F-8EAC2B608ADB}">
                <a16:predDERef xmlns:a16="http://schemas.microsoft.com/office/drawing/2014/main" pred="{3E9C79F8-F050-45AE-A720-5B5B1171E26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78019648"/>
              </p:ext>
            </p:extLst>
          </p:nvPr>
        </p:nvGraphicFramePr>
        <p:xfrm>
          <a:off x="270845" y="1369968"/>
          <a:ext cx="8538810" cy="45200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Of the ($436.8M)¹ in Revenue Sales over the July-2013 to June-2014 Period, </a:t>
            </a:r>
            <a:r>
              <a:rPr lang="en-GB" sz="1400" b="1" dirty="0" err="1"/>
              <a:t>Surjek</a:t>
            </a:r>
            <a:r>
              <a:rPr lang="en-GB" sz="1400" b="1" dirty="0"/>
              <a:t> provides close to 50% of Sales Volumes ($202.2M) with </a:t>
            </a:r>
            <a:r>
              <a:rPr lang="en-GB" sz="1400" b="1" dirty="0" err="1"/>
              <a:t>Jutik</a:t>
            </a:r>
            <a:r>
              <a:rPr lang="en-GB" sz="1400" b="1" dirty="0"/>
              <a:t> ($ 163.6M) and </a:t>
            </a:r>
            <a:r>
              <a:rPr lang="en-GB" sz="1400" b="1" dirty="0" err="1"/>
              <a:t>Kootha</a:t>
            </a:r>
            <a:r>
              <a:rPr lang="en-GB" sz="1400" b="1" dirty="0"/>
              <a:t> ($70.4M) providing the remaining.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B5D18292-FE24-4CB2-87CD-299583278E20}"/>
              </a:ext>
            </a:extLst>
          </p:cNvPr>
          <p:cNvSpPr txBox="1"/>
          <p:nvPr/>
        </p:nvSpPr>
        <p:spPr>
          <a:xfrm>
            <a:off x="171451" y="6440271"/>
            <a:ext cx="8512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/>
              <a:t>Note: This refers to the Total Sales for all 3 Units (Kootha, Surjek and Jutik)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778441E-0342-4DEE-8D65-71714D911D0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72785378"/>
              </p:ext>
            </p:extLst>
          </p:nvPr>
        </p:nvGraphicFramePr>
        <p:xfrm>
          <a:off x="0" y="1389901"/>
          <a:ext cx="2917095" cy="3788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C778441E-0342-4DEE-8D65-71714D911D0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30630043"/>
              </p:ext>
            </p:extLst>
          </p:nvPr>
        </p:nvGraphicFramePr>
        <p:xfrm>
          <a:off x="3022091" y="1389901"/>
          <a:ext cx="2917095" cy="37888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C778441E-0342-4DEE-8D65-71714D911D0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849448"/>
              </p:ext>
            </p:extLst>
          </p:nvPr>
        </p:nvGraphicFramePr>
        <p:xfrm>
          <a:off x="6044183" y="1389901"/>
          <a:ext cx="2917255" cy="37888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B24B5979-1FAA-9C2C-1AFB-436CF3E7F9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35621" y="4618786"/>
            <a:ext cx="390580" cy="190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Targeted Expense Analysis reveals an interesting trend; Overall Costs sharply increase from December, with Chemical Costs contributing $78.4M (24%) towards the overall cost-bas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7A7BB8D5-701E-847E-5EF2-62E488D0724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57480874"/>
              </p:ext>
            </p:extLst>
          </p:nvPr>
        </p:nvGraphicFramePr>
        <p:xfrm>
          <a:off x="171451" y="3569785"/>
          <a:ext cx="8579864" cy="2858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6725DDBE-DEF8-402B-900C-AD3E31416F6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73911393"/>
              </p:ext>
            </p:extLst>
          </p:nvPr>
        </p:nvGraphicFramePr>
        <p:xfrm>
          <a:off x="171450" y="896330"/>
          <a:ext cx="8579865" cy="25605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839" y="86846"/>
            <a:ext cx="8737599" cy="646331"/>
          </a:xfrm>
        </p:spPr>
        <p:txBody>
          <a:bodyPr/>
          <a:lstStyle/>
          <a:p>
            <a:r>
              <a:rPr lang="en-GB" sz="1400" b="1" dirty="0"/>
              <a:t>Further analysis singles-out </a:t>
            </a:r>
            <a:r>
              <a:rPr lang="en-GB" sz="1400" b="1" dirty="0" err="1"/>
              <a:t>Surjek</a:t>
            </a:r>
            <a:r>
              <a:rPr lang="en-GB" sz="1400" b="1" dirty="0"/>
              <a:t> with $179.3M (55.8%) worth of expenses, contrasted to a much lower spend from </a:t>
            </a:r>
            <a:r>
              <a:rPr lang="en-GB" sz="1400" b="1" dirty="0" err="1"/>
              <a:t>Kootha</a:t>
            </a:r>
            <a:r>
              <a:rPr lang="en-GB" sz="1400" b="1" dirty="0"/>
              <a:t> ($51.2 M) and </a:t>
            </a:r>
            <a:r>
              <a:rPr lang="en-GB" sz="1400" b="1" dirty="0" err="1"/>
              <a:t>Jutik</a:t>
            </a:r>
            <a:r>
              <a:rPr lang="en-GB" sz="1400" b="1" dirty="0"/>
              <a:t>   ($90.7M), largely due to lower Chemical and Labour Expenditur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853AD8C5-08A2-D278-BB78-DB5A5441879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26880788"/>
              </p:ext>
            </p:extLst>
          </p:nvPr>
        </p:nvGraphicFramePr>
        <p:xfrm>
          <a:off x="2366915" y="3786973"/>
          <a:ext cx="4538186" cy="2686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440D6D5-96DF-46A1-8299-6693C982A27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37272296"/>
              </p:ext>
            </p:extLst>
          </p:nvPr>
        </p:nvGraphicFramePr>
        <p:xfrm>
          <a:off x="65595" y="816528"/>
          <a:ext cx="4325430" cy="2766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95426D5E-EC31-4F31-8A97-BEB598BB890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10825712"/>
              </p:ext>
            </p:extLst>
          </p:nvPr>
        </p:nvGraphicFramePr>
        <p:xfrm>
          <a:off x="4480719" y="816528"/>
          <a:ext cx="4380386" cy="2803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9114198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/>
              <a:t>Drilling-down to the cost-element level, reveals an indicative relationship between water production and chemical expenditure with this being particularly pronounced for the </a:t>
            </a:r>
            <a:r>
              <a:rPr lang="en-GB" sz="1400" b="1" dirty="0" err="1"/>
              <a:t>Surjek</a:t>
            </a:r>
            <a:r>
              <a:rPr lang="en-GB" sz="1400" b="1" dirty="0"/>
              <a:t> Unit which coincidentally has the highest rate of water production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C97AD374-119D-49B5-8F80-3C77D4E0FC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1443110"/>
              </p:ext>
            </p:extLst>
          </p:nvPr>
        </p:nvGraphicFramePr>
        <p:xfrm>
          <a:off x="0" y="1238998"/>
          <a:ext cx="2955796" cy="46405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C97AD374-119D-49B5-8F80-3C77D4E0FC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73414487"/>
              </p:ext>
            </p:extLst>
          </p:nvPr>
        </p:nvGraphicFramePr>
        <p:xfrm>
          <a:off x="3002821" y="1238998"/>
          <a:ext cx="2955796" cy="46405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97AD374-119D-49B5-8F80-3C77D4E0FC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9461197"/>
              </p:ext>
            </p:extLst>
          </p:nvPr>
        </p:nvGraphicFramePr>
        <p:xfrm>
          <a:off x="5958617" y="1344176"/>
          <a:ext cx="2731523" cy="45354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7769983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23248"/>
          </a:xfrm>
        </p:spPr>
        <p:txBody>
          <a:bodyPr/>
          <a:lstStyle/>
          <a:p>
            <a:r>
              <a:rPr lang="en-AU" sz="1350" b="1" dirty="0"/>
              <a:t>Concluding our analysis, </a:t>
            </a:r>
            <a:r>
              <a:rPr lang="en-AU" sz="1350" b="1" dirty="0" err="1"/>
              <a:t>Jutik</a:t>
            </a:r>
            <a:r>
              <a:rPr lang="en-AU" sz="1350" b="1" dirty="0"/>
              <a:t> has the highest overall EBIT contributions ($72.9M), followed by </a:t>
            </a:r>
            <a:r>
              <a:rPr lang="en-AU" sz="1350" b="1" dirty="0" err="1"/>
              <a:t>Surjek</a:t>
            </a:r>
            <a:r>
              <a:rPr lang="en-AU" sz="1350" b="1" dirty="0"/>
              <a:t> ($22.9M) , and lastly </a:t>
            </a:r>
            <a:r>
              <a:rPr lang="en-AU" sz="1350" b="1" dirty="0" err="1"/>
              <a:t>Kootha</a:t>
            </a:r>
            <a:r>
              <a:rPr lang="en-AU" sz="1350" b="1" dirty="0"/>
              <a:t> ($19.7M). However, from an EBIT  Margin (%) perspective, Kootha has a higher margin than that of </a:t>
            </a:r>
            <a:r>
              <a:rPr lang="en-AU" sz="1350" b="1" dirty="0" err="1"/>
              <a:t>Surjek</a:t>
            </a:r>
            <a:r>
              <a:rPr lang="en-AU" sz="1350" b="1" dirty="0"/>
              <a:t>, indicative of a lower revenue-to-expense ratio.¹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9EFAD5F-5947-4F50-9D03-73E482BF7380}"/>
              </a:ext>
            </a:extLst>
          </p:cNvPr>
          <p:cNvSpPr txBox="1"/>
          <p:nvPr/>
        </p:nvSpPr>
        <p:spPr>
          <a:xfrm>
            <a:off x="134995" y="6351664"/>
            <a:ext cx="8512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b="1" dirty="0"/>
              <a:t>Note:¹ We can clearly see for Surjek over the October, November and May Periods – expenses were far higher than revenues which contributed to this lower revenue-to-expense ratio. 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28A3BF8-BBF4-43D8-9B9B-1BA918AB5CD5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6298A1D3-F1D1-3294-D95F-75E8483F291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08591166"/>
              </p:ext>
            </p:extLst>
          </p:nvPr>
        </p:nvGraphicFramePr>
        <p:xfrm>
          <a:off x="2452434" y="913080"/>
          <a:ext cx="3877181" cy="23781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3FA6911-990D-239E-D1D6-256EADBE5FC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11176651"/>
              </p:ext>
            </p:extLst>
          </p:nvPr>
        </p:nvGraphicFramePr>
        <p:xfrm>
          <a:off x="1700609" y="3129916"/>
          <a:ext cx="5679281" cy="33830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B700A01-7EE7-5A4C-E697-8A9CBF011E7A}"/>
              </a:ext>
            </a:extLst>
          </p:cNvPr>
          <p:cNvCxnSpPr/>
          <p:nvPr/>
        </p:nvCxnSpPr>
        <p:spPr>
          <a:xfrm>
            <a:off x="2330506" y="4944234"/>
            <a:ext cx="424022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480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808</TotalTime>
  <Words>384</Words>
  <Application>Microsoft Office PowerPoint</Application>
  <PresentationFormat>Custom</PresentationFormat>
  <Paragraphs>26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1_Synergy_CF_YNR013</vt:lpstr>
      <vt:lpstr>think-cell Slide</vt:lpstr>
      <vt:lpstr>Segmentation of the revenues by unit, reveals that of the three (3) customer segments, Private Water Hedge Sales (187.4M) are the most popular, followed by Public Sales ($146.9M) and lastly Residential Sales ($102.5M) </vt:lpstr>
      <vt:lpstr>Of the ($436.8M)¹ in Revenue Sales over the July-2013 to June-2014 Period, Surjek provides close to 50% of Sales Volumes ($202.2M) with Jutik ($ 163.6M) and Kootha ($70.4M) providing the remaining.</vt:lpstr>
      <vt:lpstr>Targeted Expense Analysis reveals an interesting trend; Overall Costs sharply increase from December, with Chemical Costs contributing $78.4M (24%) towards the overall cost-base. </vt:lpstr>
      <vt:lpstr>Further analysis singles-out Surjek with $179.3M (55.8%) worth of expenses, contrasted to a much lower spend from Kootha ($51.2 M) and Jutik   ($90.7M), largely due to lower Chemical and Labour Expenditure. </vt:lpstr>
      <vt:lpstr>Drilling-down to the cost-element level, reveals an indicative relationship between water production and chemical expenditure with this being particularly pronounced for the Surjek Unit which coincidentally has the highest rate of water production. </vt:lpstr>
      <vt:lpstr>Concluding our analysis, Jutik has the highest overall EBIT contributions ($72.9M), followed by Surjek ($22.9M) , and lastly Kootha ($19.7M). However, from an EBIT  Margin (%) perspective, Kootha has a higher margin than that of Surjek, indicative of a lower revenue-to-expense ratio.¹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Gabriela Fernandez</cp:lastModifiedBy>
  <cp:revision>67</cp:revision>
  <dcterms:created xsi:type="dcterms:W3CDTF">2020-04-12T13:23:13Z</dcterms:created>
  <dcterms:modified xsi:type="dcterms:W3CDTF">2024-02-22T04:09:17Z</dcterms:modified>
</cp:coreProperties>
</file>